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charts/chart4.xml" ContentType="application/vnd.openxmlformats-officedocument.drawingml.chart+xml"/>
  <Override PartName="/ppt/theme/themeOverride3.xml" ContentType="application/vnd.openxmlformats-officedocument.themeOverride+xml"/>
  <Override PartName="/ppt/charts/chart5.xml" ContentType="application/vnd.openxmlformats-officedocument.drawingml.chart+xml"/>
  <Override PartName="/ppt/theme/themeOverride4.xml" ContentType="application/vnd.openxmlformats-officedocument.themeOverr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sldIdLst>
    <p:sldId id="732" r:id="rId2"/>
    <p:sldId id="733" r:id="rId3"/>
    <p:sldId id="743" r:id="rId4"/>
    <p:sldId id="736" r:id="rId5"/>
    <p:sldId id="764" r:id="rId6"/>
    <p:sldId id="791" r:id="rId7"/>
    <p:sldId id="792" r:id="rId8"/>
    <p:sldId id="793" r:id="rId9"/>
    <p:sldId id="737" r:id="rId10"/>
    <p:sldId id="794" r:id="rId11"/>
    <p:sldId id="795" r:id="rId12"/>
    <p:sldId id="796" r:id="rId13"/>
    <p:sldId id="797" r:id="rId14"/>
    <p:sldId id="738" r:id="rId15"/>
    <p:sldId id="798" r:id="rId16"/>
    <p:sldId id="799" r:id="rId17"/>
    <p:sldId id="800" r:id="rId18"/>
    <p:sldId id="801" r:id="rId19"/>
    <p:sldId id="739" r:id="rId20"/>
    <p:sldId id="802" r:id="rId21"/>
    <p:sldId id="803" r:id="rId22"/>
    <p:sldId id="804" r:id="rId23"/>
    <p:sldId id="805" r:id="rId24"/>
    <p:sldId id="806" r:id="rId25"/>
  </p:sldIdLst>
  <p:sldSz cx="12192000" cy="6858000"/>
  <p:notesSz cx="6858000" cy="9144000"/>
  <p:custDataLst>
    <p:tags r:id="rId2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0000"/>
    <a:srgbClr val="F57B26"/>
    <a:srgbClr val="6FCEFE"/>
    <a:srgbClr val="60A757"/>
    <a:srgbClr val="FFFFFF"/>
    <a:srgbClr val="D54839"/>
    <a:srgbClr val="84E2FD"/>
    <a:srgbClr val="DC4534"/>
    <a:srgbClr val="F4F4F6"/>
    <a:srgbClr val="F5F5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30917" autoAdjust="0"/>
    <p:restoredTop sz="90866" autoAdjust="0"/>
  </p:normalViewPr>
  <p:slideViewPr>
    <p:cSldViewPr snapToGrid="0" showGuides="1">
      <p:cViewPr varScale="1">
        <p:scale>
          <a:sx n="73" d="100"/>
          <a:sy n="73" d="100"/>
        </p:scale>
        <p:origin x="82" y="24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9" d="100"/>
        <a:sy n="139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3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6FCEFE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DD8-4747-9642-5DCC7B0E2675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DD8-4747-9642-5DCC7B0E267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F57B26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DD8-4747-9642-5DCC7B0E267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D00000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DD8-4747-9642-5DCC7B0E26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34"/>
        <c:overlap val="-100"/>
        <c:axId val="523687424"/>
        <c:axId val="523688960"/>
      </c:barChart>
      <c:catAx>
        <c:axId val="5236874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523688960"/>
        <c:crosses val="autoZero"/>
        <c:auto val="1"/>
        <c:lblAlgn val="ctr"/>
        <c:lblOffset val="100"/>
        <c:noMultiLvlLbl val="0"/>
      </c:catAx>
      <c:valAx>
        <c:axId val="52368896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523687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  <a:ea typeface="+mn-ea"/>
          <a:cs typeface="+mn-ea"/>
          <a:sym typeface="+mn-lt"/>
        </a:defRPr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697583486215729"/>
          <c:y val="8.6676963429184198E-2"/>
          <c:w val="0.66319444444444442"/>
          <c:h val="0.8377192982456140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noFill/>
            <a:ln>
              <a:solidFill>
                <a:srgbClr val="6FCEFE"/>
              </a:solidFill>
            </a:ln>
          </c:spPr>
          <c:dPt>
            <c:idx val="0"/>
            <c:bubble3D val="0"/>
            <c:spPr>
              <a:solidFill>
                <a:srgbClr val="6FCEFE"/>
              </a:solidFill>
              <a:ln>
                <a:solidFill>
                  <a:srgbClr val="6FCEFE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24F6-4688-9103-34E654843A64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24F6-4688-9103-34E654843A64}"/>
              </c:ext>
            </c:extLst>
          </c:dPt>
          <c:cat>
            <c:strRef>
              <c:f>Sheet1!$A$2:$A$3</c:f>
              <c:strCache>
                <c:ptCount val="2"/>
                <c:pt idx="0">
                  <c:v>A</c:v>
                </c:pt>
                <c:pt idx="1">
                  <c:v>B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>
                  <c:v>0.4</c:v>
                </c:pt>
                <c:pt idx="1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4F6-4688-9103-34E654843A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zero"/>
    <c:showDLblsOverMax val="0"/>
  </c:chart>
  <c:txPr>
    <a:bodyPr/>
    <a:lstStyle/>
    <a:p>
      <a:pPr>
        <a:defRPr sz="1800">
          <a:latin typeface="+mn-lt"/>
          <a:ea typeface="+mn-ea"/>
          <a:cs typeface="+mn-ea"/>
          <a:sym typeface="+mn-lt"/>
        </a:defRPr>
      </a:pPr>
      <a:endParaRPr lang="zh-CN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697583486215729"/>
          <c:y val="8.6676963429184198E-2"/>
          <c:w val="0.66319444444444442"/>
          <c:h val="0.8377192982456140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800080"/>
            </a:solidFill>
            <a:ln>
              <a:solidFill>
                <a:srgbClr val="800080"/>
              </a:solidFill>
            </a:ln>
          </c:spPr>
          <c:dPt>
            <c:idx val="0"/>
            <c:bubble3D val="0"/>
            <c:spPr>
              <a:solidFill>
                <a:srgbClr val="F57B26"/>
              </a:solidFill>
              <a:ln>
                <a:solidFill>
                  <a:srgbClr val="F57B26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D6E0-445B-9D16-19B484F74FA7}"/>
              </c:ext>
            </c:extLst>
          </c:dPt>
          <c:dPt>
            <c:idx val="1"/>
            <c:bubble3D val="0"/>
            <c:spPr>
              <a:noFill/>
              <a:ln>
                <a:solidFill>
                  <a:srgbClr val="F57B26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D6E0-445B-9D16-19B484F74FA7}"/>
              </c:ext>
            </c:extLst>
          </c:dPt>
          <c:cat>
            <c:strRef>
              <c:f>Sheet1!$A$2:$A$3</c:f>
              <c:strCache>
                <c:ptCount val="2"/>
                <c:pt idx="0">
                  <c:v>A</c:v>
                </c:pt>
                <c:pt idx="1">
                  <c:v>B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>
                  <c:v>0.6</c:v>
                </c:pt>
                <c:pt idx="1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6E0-445B-9D16-19B484F74F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zero"/>
    <c:showDLblsOverMax val="0"/>
  </c:chart>
  <c:txPr>
    <a:bodyPr/>
    <a:lstStyle/>
    <a:p>
      <a:pPr>
        <a:defRPr sz="1800">
          <a:latin typeface="+mn-lt"/>
          <a:ea typeface="+mn-ea"/>
          <a:cs typeface="+mn-ea"/>
          <a:sym typeface="+mn-lt"/>
        </a:defRPr>
      </a:pPr>
      <a:endParaRPr lang="zh-CN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697583486215729"/>
          <c:y val="8.6676963429184198E-2"/>
          <c:w val="0.66319444444444442"/>
          <c:h val="0.8377192982456140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800080"/>
            </a:solidFill>
            <a:ln>
              <a:solidFill>
                <a:srgbClr val="800080"/>
              </a:solidFill>
            </a:ln>
          </c:spPr>
          <c:dPt>
            <c:idx val="0"/>
            <c:bubble3D val="0"/>
            <c:spPr>
              <a:solidFill>
                <a:srgbClr val="60A757"/>
              </a:solidFill>
              <a:ln>
                <a:solidFill>
                  <a:srgbClr val="60A757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4641-49D2-A48A-65DA01FC659B}"/>
              </c:ext>
            </c:extLst>
          </c:dPt>
          <c:dPt>
            <c:idx val="1"/>
            <c:bubble3D val="0"/>
            <c:spPr>
              <a:noFill/>
              <a:ln>
                <a:solidFill>
                  <a:srgbClr val="60A757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4641-49D2-A48A-65DA01FC659B}"/>
              </c:ext>
            </c:extLst>
          </c:dPt>
          <c:cat>
            <c:strRef>
              <c:f>Sheet1!$A$2:$A$3</c:f>
              <c:strCache>
                <c:ptCount val="2"/>
                <c:pt idx="0">
                  <c:v>A</c:v>
                </c:pt>
                <c:pt idx="1">
                  <c:v>B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>
                  <c:v>0.8</c:v>
                </c:pt>
                <c:pt idx="1">
                  <c:v>0.19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641-49D2-A48A-65DA01FC65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zero"/>
    <c:showDLblsOverMax val="0"/>
  </c:chart>
  <c:txPr>
    <a:bodyPr/>
    <a:lstStyle/>
    <a:p>
      <a:pPr>
        <a:defRPr sz="1800">
          <a:latin typeface="+mn-lt"/>
          <a:ea typeface="+mn-ea"/>
          <a:cs typeface="+mn-ea"/>
          <a:sym typeface="+mn-lt"/>
        </a:defRPr>
      </a:pPr>
      <a:endParaRPr lang="zh-CN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697583486215729"/>
          <c:y val="8.6676963429184198E-2"/>
          <c:w val="0.66319444444444442"/>
          <c:h val="0.8377192982456140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800080"/>
            </a:solidFill>
            <a:ln>
              <a:solidFill>
                <a:srgbClr val="800080"/>
              </a:solidFill>
            </a:ln>
          </c:spPr>
          <c:dPt>
            <c:idx val="0"/>
            <c:bubble3D val="0"/>
            <c:spPr>
              <a:solidFill>
                <a:srgbClr val="D00000"/>
              </a:solidFill>
              <a:ln>
                <a:solidFill>
                  <a:srgbClr val="D00000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1FE6-4BAF-AC1F-364A31E9C778}"/>
              </c:ext>
            </c:extLst>
          </c:dPt>
          <c:dPt>
            <c:idx val="1"/>
            <c:bubble3D val="0"/>
            <c:spPr>
              <a:noFill/>
              <a:ln>
                <a:solidFill>
                  <a:srgbClr val="D00000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1FE6-4BAF-AC1F-364A31E9C778}"/>
              </c:ext>
            </c:extLst>
          </c:dPt>
          <c:cat>
            <c:strRef>
              <c:f>Sheet1!$A$2:$A$3</c:f>
              <c:strCache>
                <c:ptCount val="2"/>
                <c:pt idx="0">
                  <c:v>A</c:v>
                </c:pt>
                <c:pt idx="1">
                  <c:v>B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>
                  <c:v>0.8</c:v>
                </c:pt>
                <c:pt idx="1">
                  <c:v>0.19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FE6-4BAF-AC1F-364A31E9C7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zero"/>
    <c:showDLblsOverMax val="0"/>
  </c:chart>
  <c:txPr>
    <a:bodyPr/>
    <a:lstStyle/>
    <a:p>
      <a:pPr>
        <a:defRPr sz="1800">
          <a:latin typeface="+mn-lt"/>
          <a:ea typeface="+mn-ea"/>
          <a:cs typeface="+mn-ea"/>
          <a:sym typeface="+mn-lt"/>
        </a:defRPr>
      </a:pPr>
      <a:endParaRPr lang="zh-CN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13E272-A017-45D1-BF50-E01C56DEC431}" type="datetimeFigureOut">
              <a:rPr lang="zh-CN" altLang="en-US" smtClean="0"/>
              <a:t>2022/1/1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5DD8BC-D6FC-4DC7-95EE-0B21F35818F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952520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1ppt.com/tubiao/" TargetMode="External"/><Relationship Id="rId13" Type="http://schemas.openxmlformats.org/officeDocument/2006/relationships/hyperlink" Target="http://www.1ppt.com/jianli/" TargetMode="External"/><Relationship Id="rId18" Type="http://schemas.openxmlformats.org/officeDocument/2006/relationships/hyperlink" Target="http://www.1ppt.com/ziti/" TargetMode="External"/><Relationship Id="rId3" Type="http://schemas.openxmlformats.org/officeDocument/2006/relationships/hyperlink" Target="http://www.1ppt.com/moban/" TargetMode="External"/><Relationship Id="rId7" Type="http://schemas.openxmlformats.org/officeDocument/2006/relationships/hyperlink" Target="http://www.1ppt.com/beijing/" TargetMode="External"/><Relationship Id="rId12" Type="http://schemas.openxmlformats.org/officeDocument/2006/relationships/hyperlink" Target="http://www.1ppt.com/excel/" TargetMode="External"/><Relationship Id="rId17" Type="http://schemas.openxmlformats.org/officeDocument/2006/relationships/hyperlink" Target="http://www.1ppt.com/jiaoan/" TargetMode="External"/><Relationship Id="rId2" Type="http://schemas.openxmlformats.org/officeDocument/2006/relationships/slide" Target="../slides/slide14.xml"/><Relationship Id="rId16" Type="http://schemas.openxmlformats.org/officeDocument/2006/relationships/hyperlink" Target="http://www.1ppt.com/shiti/" TargetMode="External"/><Relationship Id="rId1" Type="http://schemas.openxmlformats.org/officeDocument/2006/relationships/notesMaster" Target="../notesMasters/notesMaster1.xml"/><Relationship Id="rId6" Type="http://schemas.openxmlformats.org/officeDocument/2006/relationships/hyperlink" Target="http://www.1ppt.com/sucai/" TargetMode="External"/><Relationship Id="rId11" Type="http://schemas.openxmlformats.org/officeDocument/2006/relationships/hyperlink" Target="http://www.1ppt.com/word/" TargetMode="External"/><Relationship Id="rId5" Type="http://schemas.openxmlformats.org/officeDocument/2006/relationships/hyperlink" Target="http://www.1ppt.com/jieri/" TargetMode="External"/><Relationship Id="rId15" Type="http://schemas.openxmlformats.org/officeDocument/2006/relationships/hyperlink" Target="http://www.1ppt.com/shouchaobao/" TargetMode="External"/><Relationship Id="rId10" Type="http://schemas.openxmlformats.org/officeDocument/2006/relationships/hyperlink" Target="http://www.1ppt.com/powerpoint/" TargetMode="External"/><Relationship Id="rId4" Type="http://schemas.openxmlformats.org/officeDocument/2006/relationships/hyperlink" Target="http://www.1ppt.com/hangye/" TargetMode="External"/><Relationship Id="rId9" Type="http://schemas.openxmlformats.org/officeDocument/2006/relationships/hyperlink" Target="http://www.1ppt.com/xiazai/" TargetMode="External"/><Relationship Id="rId14" Type="http://schemas.openxmlformats.org/officeDocument/2006/relationships/hyperlink" Target="http://www.1ppt.com/kejian/" TargetMode="Externa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810554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838202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715934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203478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4249154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：       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3"/>
              </a:rPr>
              <a:t>www.1ppt.com/moban/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    </a:t>
            </a:r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行业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：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4"/>
              </a:rPr>
              <a:t>www.1ppt.com/hangye/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</a:p>
          <a:p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节日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：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5"/>
              </a:rPr>
              <a:t>www.1ppt.com/jieri/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          PPT</a:t>
            </a:r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素材：       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6"/>
              </a:rPr>
              <a:t>www.1ppt.com/sucai/</a:t>
            </a:r>
            <a:endParaRPr lang="en-US" altLang="zh-CN" sz="1200" dirty="0">
              <a:solidFill>
                <a:srgbClr val="EEECE1">
                  <a:lumMod val="2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背景图片：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7"/>
              </a:rPr>
              <a:t>www.1ppt.com/beijing/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     PPT</a:t>
            </a:r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图表：       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8"/>
              </a:rPr>
              <a:t>www.1ppt.com/tubiao/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</a:t>
            </a:r>
          </a:p>
          <a:p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秀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载：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9"/>
              </a:rPr>
              <a:t>www.1ppt.com/xiazai/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       PPT</a:t>
            </a:r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程：       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0"/>
              </a:rPr>
              <a:t>www.1ppt.com/powerpoint/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</a:t>
            </a:r>
          </a:p>
          <a:p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ord</a:t>
            </a:r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程：    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1"/>
              </a:rPr>
              <a:t>www.1ppt.com/word/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        Excel</a:t>
            </a:r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程：     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2"/>
              </a:rPr>
              <a:t>www.1ppt.com/excel/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</a:p>
          <a:p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人简历：      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3"/>
              </a:rPr>
              <a:t>www.1ppt.com/jianli/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         PPT</a:t>
            </a:r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课件：       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4"/>
              </a:rPr>
              <a:t>www.1ppt.com/kejian/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</a:p>
          <a:p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手抄报：          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5"/>
              </a:rPr>
              <a:t>www.1ppt.com/shouchaobao/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</a:t>
            </a:r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试题下载：      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6"/>
              </a:rPr>
              <a:t>www.1ppt.com/shiti/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</a:p>
          <a:p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案下载：      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7"/>
              </a:rPr>
              <a:t>www.1ppt.com/jiaoan/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       </a:t>
            </a:r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字体下载：      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8"/>
              </a:rPr>
              <a:t>www.1ppt.com/ziti/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</a:t>
            </a:r>
            <a:endParaRPr lang="zh-CN" altLang="en-US" sz="1200" dirty="0">
              <a:solidFill>
                <a:srgbClr val="EEECE1">
                  <a:lumMod val="2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8452127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1454164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6661726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042678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8697051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029395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976173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6320259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5836557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4737012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680896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718490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749793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900659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739952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955319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8088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392211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85866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60D3CD5-2856-4FBB-B945-A5AAD51A37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4BA84670-E173-4350-8DBA-0DDF414582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F306F2C9-6204-4CDC-8A7B-B1FF921C71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C1BB4-362A-4FA9-8DB1-67ED03367B5F}" type="datetimeFigureOut">
              <a:rPr lang="zh-CN" altLang="en-US" smtClean="0"/>
              <a:t>2022/1/1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C8487E7-FDBF-4D2A-8D5B-2D5A24551A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634F7A92-F3E2-4CAD-8740-9DB6CE3CDE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A68BC-99F0-46F7-8FC8-CC50DBF267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94488515"/>
      </p:ext>
    </p:extLst>
  </p:cSld>
  <p:clrMapOvr>
    <a:masterClrMapping/>
  </p:clrMapOvr>
  <p:transition spd="slow" advClick="0" advTm="0">
    <p:comb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099A77-1441-4A90-949D-DB4972659A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2265DE50-21FD-4139-8B7B-2486573857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39B5924E-B103-452A-9096-C3D5CF13E4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C1BB4-362A-4FA9-8DB1-67ED03367B5F}" type="datetimeFigureOut">
              <a:rPr lang="zh-CN" altLang="en-US" smtClean="0"/>
              <a:t>2022/1/1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B71C771-13F6-47BF-8380-D7AD749E85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BF76AE8-3F8E-48ED-9684-5C8D8302D1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A68BC-99F0-46F7-8FC8-CC50DBF267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08580143"/>
      </p:ext>
    </p:extLst>
  </p:cSld>
  <p:clrMapOvr>
    <a:masterClrMapping/>
  </p:clrMapOvr>
  <p:transition spd="slow" advClick="0" advTm="0">
    <p:comb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D4DF8C08-8700-4D56-BE9A-3C9FC1EF3A9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BEA194EE-3132-498C-8989-2F2B0A5875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F68F920-4FD1-4537-BB6C-83DD0C023E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C1BB4-362A-4FA9-8DB1-67ED03367B5F}" type="datetimeFigureOut">
              <a:rPr lang="zh-CN" altLang="en-US" smtClean="0"/>
              <a:t>2022/1/1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F13330DC-893A-4C0D-BFC0-545999F4C5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CA8451E-E009-4858-91B8-768D838F6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A68BC-99F0-46F7-8FC8-CC50DBF267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3814039"/>
      </p:ext>
    </p:extLst>
  </p:cSld>
  <p:clrMapOvr>
    <a:masterClrMapping/>
  </p:clrMapOvr>
  <p:transition spd="slow" advClick="0" advTm="0">
    <p:comb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8429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DB30E8C-3688-4423-8BA1-9353733FB2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CEB5F798-345D-4161-8985-38F4EA392E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94C21D3-701F-45BA-9941-27756E67D2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C1BB4-362A-4FA9-8DB1-67ED03367B5F}" type="datetimeFigureOut">
              <a:rPr lang="zh-CN" altLang="en-US" smtClean="0"/>
              <a:t>2022/1/1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ACD6A84C-15C9-4808-89FB-ABC2261A69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0D8FA99-F91B-44D2-AF46-BEABD6CD8D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A68BC-99F0-46F7-8FC8-CC50DBF267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92108355"/>
      </p:ext>
    </p:extLst>
  </p:cSld>
  <p:clrMapOvr>
    <a:masterClrMapping/>
  </p:clrMapOvr>
  <p:transition spd="slow" advClick="0" advTm="0">
    <p:comb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7AA746F-767A-4EB6-9785-49809D5BC8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03D88C4-1C31-4440-902B-C3CAECD19E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B988CA2-A5F0-4BAA-BD04-493091F3A2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C1BB4-362A-4FA9-8DB1-67ED03367B5F}" type="datetimeFigureOut">
              <a:rPr lang="zh-CN" altLang="en-US" smtClean="0"/>
              <a:t>2022/1/1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72057D3-ED9B-4949-AB4F-5C22EBD9B4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23CFA0C-17FF-44A0-B95B-A0A42ECDF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A68BC-99F0-46F7-8FC8-CC50DBF267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00844197"/>
      </p:ext>
    </p:extLst>
  </p:cSld>
  <p:clrMapOvr>
    <a:masterClrMapping/>
  </p:clrMapOvr>
  <p:transition spd="slow" advClick="0" advTm="0">
    <p:comb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A0253A2-7246-4000-BBE5-74CD6E9B0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CD9F10CC-A678-41FF-B910-5D8CBACD9D2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572FDB5E-1D8C-4777-8BAA-4E87A1C704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7C5EEC61-1A6D-4106-8173-8EA768A446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C1BB4-362A-4FA9-8DB1-67ED03367B5F}" type="datetimeFigureOut">
              <a:rPr lang="zh-CN" altLang="en-US" smtClean="0"/>
              <a:t>2022/1/15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847B5362-D05F-47BF-865F-06BFB93CD0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CB0ED683-F6A8-486C-9335-EE0A711FB9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A68BC-99F0-46F7-8FC8-CC50DBF267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72972735"/>
      </p:ext>
    </p:extLst>
  </p:cSld>
  <p:clrMapOvr>
    <a:masterClrMapping/>
  </p:clrMapOvr>
  <p:transition spd="slow" advClick="0" advTm="0">
    <p:comb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2AF0EAD-1DBF-4B90-A988-E59FB6DE0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69F823B2-199A-4F9B-90E5-AAE0DA4A71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698D05C2-C2A9-45AB-96FF-3741CB8999B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F4561BCF-7A13-4AAC-A2EF-D24AB1A13E7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EBA8D4A6-DAE7-46C1-AADC-36385DDAEAD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D5D1820A-BBFA-43AF-9F6B-98A097BA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C1BB4-362A-4FA9-8DB1-67ED03367B5F}" type="datetimeFigureOut">
              <a:rPr lang="zh-CN" altLang="en-US" smtClean="0"/>
              <a:t>2022/1/15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A23C08DB-1A4D-4916-8CF7-EFB651E429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CC8DA110-1894-497F-92BB-F2006504B4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A68BC-99F0-46F7-8FC8-CC50DBF267E9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11" name="矩形 10"/>
          <p:cNvSpPr/>
          <p:nvPr userDrawn="1"/>
        </p:nvSpPr>
        <p:spPr>
          <a:xfrm>
            <a:off x="8325228" y="4392776"/>
            <a:ext cx="775136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模板下载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moban/          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行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模板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hangye/ </a:t>
            </a:r>
          </a:p>
          <a:p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节日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模板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jieri/          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素材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sucai/</a:t>
            </a:r>
          </a:p>
          <a:p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背景图片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beijing/        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图表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tubiao/      </a:t>
            </a:r>
          </a:p>
          <a:p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精美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下载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xiazai/         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教程： 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powerpoint/      </a:t>
            </a:r>
          </a:p>
          <a:p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课件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kejian/             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字体下载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ziti/</a:t>
            </a:r>
          </a:p>
          <a:p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工作总结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xiazai/zongjie/ 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工作计划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xiazai/jihua/</a:t>
            </a:r>
          </a:p>
          <a:p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商务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模板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moban/shangwu/  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个人简历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xiazai/jianli/  </a:t>
            </a:r>
          </a:p>
          <a:p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毕业答辩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xiazai/dabian/  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工作汇报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xiazai/huibao/    </a:t>
            </a:r>
          </a:p>
          <a:p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16887826"/>
      </p:ext>
    </p:extLst>
  </p:cSld>
  <p:clrMapOvr>
    <a:masterClrMapping/>
  </p:clrMapOvr>
  <p:transition spd="slow" advClick="0" advTm="0">
    <p:comb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17AD8AD-C1A3-4B59-B0F9-98C2DB5A48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172A0638-BD93-41A2-A95E-8F30223ADB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C1BB4-362A-4FA9-8DB1-67ED03367B5F}" type="datetimeFigureOut">
              <a:rPr lang="zh-CN" altLang="en-US" smtClean="0"/>
              <a:t>2022/1/1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22DAEA7A-1C9A-40B7-9051-96A559B493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A109A3E8-54B0-4742-A3C3-7863BFEEF6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A68BC-99F0-46F7-8FC8-CC50DBF267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6705476"/>
      </p:ext>
    </p:extLst>
  </p:cSld>
  <p:clrMapOvr>
    <a:masterClrMapping/>
  </p:clrMapOvr>
  <p:transition spd="slow" advClick="0" advTm="0">
    <p:comb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740F0FBC-4A3E-451D-9DCF-F7A5E4BC67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C1BB4-362A-4FA9-8DB1-67ED03367B5F}" type="datetimeFigureOut">
              <a:rPr lang="zh-CN" altLang="en-US" smtClean="0"/>
              <a:t>2022/1/15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9570197-FA96-46EF-BBAF-BABAC0A0A6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10E03EA-6DCD-45FF-A2CD-07A7CBB2C6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A68BC-99F0-46F7-8FC8-CC50DBF267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95141208"/>
      </p:ext>
    </p:extLst>
  </p:cSld>
  <p:clrMapOvr>
    <a:masterClrMapping/>
  </p:clrMapOvr>
  <p:transition spd="slow" advClick="0" advTm="0">
    <p:comb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F3EA933-38FB-4E95-A113-EA50929237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8600D57B-7DD6-4130-B481-F645AB1C75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20CDC4E7-4C9A-480C-BE85-110253D00CE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9BAB418D-F73B-493E-98D8-07DCEB48FC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C1BB4-362A-4FA9-8DB1-67ED03367B5F}" type="datetimeFigureOut">
              <a:rPr lang="zh-CN" altLang="en-US" smtClean="0"/>
              <a:t>2022/1/15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236F2EF3-2177-45FB-9E8E-B4F9EF2A2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999E1A9-A17A-42D1-A6EE-256169024C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A68BC-99F0-46F7-8FC8-CC50DBF267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38233103"/>
      </p:ext>
    </p:extLst>
  </p:cSld>
  <p:clrMapOvr>
    <a:masterClrMapping/>
  </p:clrMapOvr>
  <p:transition spd="slow" advClick="0" advTm="0">
    <p:comb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460D1A9-6505-46B5-8FC4-5F2A96072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FB0A8384-EF42-49C7-8B72-47CAC940D60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BF41794D-17D9-4743-AF97-AE0528BA9D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69D3E264-E40A-4D58-96A1-82ECE62A53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C1BB4-362A-4FA9-8DB1-67ED03367B5F}" type="datetimeFigureOut">
              <a:rPr lang="zh-CN" altLang="en-US" smtClean="0"/>
              <a:t>2022/1/15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E271EC6F-D819-4E4A-BA56-03A95BF98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1058CC60-3B58-4FEF-BDDE-12351A8BF9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A68BC-99F0-46F7-8FC8-CC50DBF267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17135327"/>
      </p:ext>
    </p:extLst>
  </p:cSld>
  <p:clrMapOvr>
    <a:masterClrMapping/>
  </p:clrMapOvr>
  <p:transition spd="slow" advClick="0" advTm="0">
    <p:comb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2043C670-1FE1-4AC4-990A-97B10D12BA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57C0A71-7D3E-4B34-A627-8CDC308ECF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3E601AC-2103-4D25-BF42-7089F74348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8C1BB4-362A-4FA9-8DB1-67ED03367B5F}" type="datetimeFigureOut">
              <a:rPr lang="zh-CN" altLang="en-US" smtClean="0"/>
              <a:t>2022/1/1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A57B1BC-5512-4476-B28B-7AA7E05E43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CA7CD38-6541-44CE-A201-EF6C1356E2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8A68BC-99F0-46F7-8FC8-CC50DBF267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82818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6" r:id="rId12"/>
  </p:sldLayoutIdLst>
  <p:transition spd="slow" advClick="0" advTm="0">
    <p:comb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7" Type="http://schemas.openxmlformats.org/officeDocument/2006/relationships/image" Target="../media/image1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.jpg"/><Relationship Id="rId7" Type="http://schemas.openxmlformats.org/officeDocument/2006/relationships/image" Target="../media/image1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5" Type="http://schemas.openxmlformats.org/officeDocument/2006/relationships/image" Target="../media/image13.png"/><Relationship Id="rId4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.xml"/><Relationship Id="rId7" Type="http://schemas.openxmlformats.org/officeDocument/2006/relationships/image" Target="../media/image1.jpg"/><Relationship Id="rId12" Type="http://schemas.openxmlformats.org/officeDocument/2006/relationships/chart" Target="../charts/chart5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notesSlide" Target="../notesSlides/notesSlide16.xml"/><Relationship Id="rId11" Type="http://schemas.openxmlformats.org/officeDocument/2006/relationships/chart" Target="../charts/chart4.xml"/><Relationship Id="rId5" Type="http://schemas.openxmlformats.org/officeDocument/2006/relationships/slideLayout" Target="../slideLayouts/slideLayout2.xml"/><Relationship Id="rId10" Type="http://schemas.openxmlformats.org/officeDocument/2006/relationships/chart" Target="../charts/chart3.xml"/><Relationship Id="rId4" Type="http://schemas.openxmlformats.org/officeDocument/2006/relationships/tags" Target="../tags/tag5.xml"/><Relationship Id="rId9" Type="http://schemas.openxmlformats.org/officeDocument/2006/relationships/chart" Target="../charts/char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.jpg"/><Relationship Id="rId7" Type="http://schemas.openxmlformats.org/officeDocument/2006/relationships/image" Target="../media/image21.jpg"/><Relationship Id="rId12" Type="http://schemas.openxmlformats.org/officeDocument/2006/relationships/image" Target="../media/image26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jpeg"/><Relationship Id="rId11" Type="http://schemas.openxmlformats.org/officeDocument/2006/relationships/image" Target="../media/image25.jpg"/><Relationship Id="rId5" Type="http://schemas.openxmlformats.org/officeDocument/2006/relationships/image" Target="../media/image19.jpg"/><Relationship Id="rId10" Type="http://schemas.openxmlformats.org/officeDocument/2006/relationships/image" Target="../media/image24.jpeg"/><Relationship Id="rId4" Type="http://schemas.openxmlformats.org/officeDocument/2006/relationships/image" Target="../media/image5.png"/><Relationship Id="rId9" Type="http://schemas.openxmlformats.org/officeDocument/2006/relationships/image" Target="../media/image23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7" Type="http://schemas.openxmlformats.org/officeDocument/2006/relationships/image" Target="../media/image29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7" Type="http://schemas.openxmlformats.org/officeDocument/2006/relationships/image" Target="../media/image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jpeg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.xml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7D541785-68AC-43A3-ADD5-CCB806485B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26596"/>
            <a:ext cx="12202211" cy="6858000"/>
          </a:xfrm>
          <a:prstGeom prst="rect">
            <a:avLst/>
          </a:prstGeom>
          <a:ln>
            <a:noFill/>
          </a:ln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A9DCD6AC-468D-411F-ADD1-9E043CD9455B}"/>
              </a:ext>
            </a:extLst>
          </p:cNvPr>
          <p:cNvSpPr/>
          <p:nvPr/>
        </p:nvSpPr>
        <p:spPr>
          <a:xfrm rot="10800000">
            <a:off x="0" y="1156816"/>
            <a:ext cx="12192000" cy="4224472"/>
          </a:xfrm>
          <a:prstGeom prst="rect">
            <a:avLst/>
          </a:prstGeom>
          <a:solidFill>
            <a:srgbClr val="D00000"/>
          </a:solidFill>
          <a:ln>
            <a:noFill/>
          </a:ln>
          <a:effectLst>
            <a:outerShdw blurRad="114300" dist="38100" dir="2700000" sx="101000" sy="101000" algn="tl" rotWithShape="0">
              <a:prstClr val="black">
                <a:alpha val="3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72F61383-65C9-44C3-881B-04BD16F071A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566968" y="2244348"/>
            <a:ext cx="5567832" cy="36594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ED240C3B-6885-4E67-ADE0-A4AEF74A8D0B}"/>
              </a:ext>
            </a:extLst>
          </p:cNvPr>
          <p:cNvSpPr/>
          <p:nvPr/>
        </p:nvSpPr>
        <p:spPr>
          <a:xfrm rot="10800000">
            <a:off x="3119669" y="1664229"/>
            <a:ext cx="7488832" cy="345638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38100" dir="2700000" sx="101000" sy="101000" algn="tl" rotWithShape="0">
              <a:prstClr val="black">
                <a:alpha val="3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97E6C958-D7B9-4AC5-80A6-C246E03A2DF4}"/>
              </a:ext>
            </a:extLst>
          </p:cNvPr>
          <p:cNvSpPr txBox="1"/>
          <p:nvPr/>
        </p:nvSpPr>
        <p:spPr>
          <a:xfrm>
            <a:off x="3776173" y="2412079"/>
            <a:ext cx="629011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40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教师公开课教学设计 </a:t>
            </a:r>
            <a:r>
              <a:rPr lang="en-US" altLang="zh-CN" sz="40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PT</a:t>
            </a:r>
            <a:endParaRPr lang="zh-CN" altLang="en-US" sz="40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F4FDA6B7-A91D-4FED-AD35-E0B4D39D99D0}"/>
              </a:ext>
            </a:extLst>
          </p:cNvPr>
          <p:cNvSpPr txBox="1"/>
          <p:nvPr/>
        </p:nvSpPr>
        <p:spPr>
          <a:xfrm>
            <a:off x="4859284" y="4246814"/>
            <a:ext cx="39334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汇报人</a:t>
            </a:r>
            <a:r>
              <a:rPr lang="en-US" altLang="zh-CN" sz="2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:</a:t>
            </a:r>
            <a:r>
              <a:rPr lang="zh-CN" altLang="en-US" sz="2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小白 时间：</a:t>
            </a:r>
            <a:r>
              <a:rPr lang="en-US" altLang="zh-CN" sz="2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2030.12</a:t>
            </a:r>
            <a:endParaRPr lang="zh-CN" altLang="en-US" sz="20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1B0C206A-7A1A-4555-9514-A2B12B702B07}"/>
              </a:ext>
            </a:extLst>
          </p:cNvPr>
          <p:cNvSpPr/>
          <p:nvPr/>
        </p:nvSpPr>
        <p:spPr>
          <a:xfrm>
            <a:off x="3682009" y="3229724"/>
            <a:ext cx="67299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2000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TEACHER SAID CLASS OPEN TRAINING</a:t>
            </a:r>
            <a:endParaRPr lang="zh-CN" altLang="en-US" sz="2000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48DCE6D0-44DD-43B7-A3F8-675165C61AF6}"/>
              </a:ext>
            </a:extLst>
          </p:cNvPr>
          <p:cNvSpPr txBox="1"/>
          <p:nvPr/>
        </p:nvSpPr>
        <p:spPr>
          <a:xfrm>
            <a:off x="1816101" y="5238736"/>
            <a:ext cx="3127779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9600" spc="400">
                <a:solidFill>
                  <a:srgbClr val="617A99"/>
                </a:solidFill>
                <a:latin typeface="Agency FB" pitchFamily="34" charset="0"/>
              </a:defRPr>
            </a:lvl1pPr>
          </a:lstStyle>
          <a:p>
            <a:pPr algn="ctr"/>
            <a:r>
              <a:rPr lang="en-US" altLang="zh-CN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ea"/>
                <a:sym typeface="+mn-lt"/>
              </a:rPr>
              <a:t>2030</a:t>
            </a:r>
            <a:endParaRPr lang="zh-CN" alt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+mn-ea"/>
              <a:sym typeface="+mn-lt"/>
            </a:endParaRPr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7632B317-56B4-4D0C-ABF3-61C1195B4D54}"/>
              </a:ext>
            </a:extLst>
          </p:cNvPr>
          <p:cNvCxnSpPr>
            <a:cxnSpLocks/>
          </p:cNvCxnSpPr>
          <p:nvPr/>
        </p:nvCxnSpPr>
        <p:spPr>
          <a:xfrm>
            <a:off x="4678415" y="3782876"/>
            <a:ext cx="4371335" cy="0"/>
          </a:xfrm>
          <a:prstGeom prst="line">
            <a:avLst/>
          </a:prstGeom>
          <a:ln w="12700">
            <a:solidFill>
              <a:srgbClr val="D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128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 advClick="0" advTm="3000">
        <p:checker/>
      </p:transition>
    </mc:Choice>
    <mc:Fallback xmlns="">
      <p:transition spd="slow" advClick="0" advTm="3000">
        <p:checker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7" dur="20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8" dur="20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11" dur="2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12" dur="2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2" presetClass="entr" presetSubtype="4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15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6" presetID="14" presetClass="entr" presetSubtype="10" fill="hold" grpId="1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18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9" presetID="41" presetClass="entr" presetSubtype="0" fill="hold" grpId="0" nodeType="withEffect">
                                      <p:stCondLst>
                                        <p:cond delay="250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2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3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4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5" dur="500" tmFilter="0,0; .5, 1; 1, 1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6" presetID="16" presetClass="entr" presetSubtype="37" fill="hold" grpId="0" nodeType="withEffect">
                                      <p:stCondLst>
                                        <p:cond delay="300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28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9" presetID="16" presetClass="entr" presetSubtype="21" fill="hold" nodeType="withEffect">
                                      <p:stCondLst>
                                        <p:cond delay="350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inVertical)">
                                          <p:cBhvr>
                                            <p:cTn id="31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2" presetID="9" presetClass="entr" presetSubtype="0" fill="hold" grpId="0" nodeType="withEffect">
                                      <p:stCondLst>
                                        <p:cond delay="400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dissolve">
                                          <p:cBhvr>
                                            <p:cTn id="34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" grpId="0" animBg="1"/>
          <p:bldP spid="5" grpId="0" animBg="1"/>
          <p:bldP spid="6" grpId="0"/>
          <p:bldP spid="7" grpId="0"/>
          <p:bldP spid="8" grpId="0"/>
          <p:bldP spid="9" grpId="0"/>
          <p:bldP spid="9" grpId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20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20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2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2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2" presetClass="entr" presetSubtype="4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15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6" presetID="14" presetClass="entr" presetSubtype="10" fill="hold" grpId="1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18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9" presetID="41" presetClass="entr" presetSubtype="0" fill="hold" grpId="0" nodeType="withEffect">
                                      <p:stCondLst>
                                        <p:cond delay="250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2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3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4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5" dur="500" tmFilter="0,0; .5, 1; 1, 1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6" presetID="16" presetClass="entr" presetSubtype="37" fill="hold" grpId="0" nodeType="withEffect">
                                      <p:stCondLst>
                                        <p:cond delay="300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28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9" presetID="16" presetClass="entr" presetSubtype="21" fill="hold" nodeType="withEffect">
                                      <p:stCondLst>
                                        <p:cond delay="350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inVertical)">
                                          <p:cBhvr>
                                            <p:cTn id="31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2" presetID="9" presetClass="entr" presetSubtype="0" fill="hold" grpId="0" nodeType="withEffect">
                                      <p:stCondLst>
                                        <p:cond delay="400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dissolve">
                                          <p:cBhvr>
                                            <p:cTn id="34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" grpId="0" animBg="1"/>
          <p:bldP spid="5" grpId="0" animBg="1"/>
          <p:bldP spid="6" grpId="0"/>
          <p:bldP spid="7" grpId="0"/>
          <p:bldP spid="8" grpId="0"/>
          <p:bldP spid="9" grpId="0"/>
          <p:bldP spid="9" grpId="1"/>
        </p:bldLst>
      </p:timing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3643088-BADE-4B2C-8D16-84C355AB00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4294"/>
            <a:ext cx="12202211" cy="6858000"/>
          </a:xfrm>
          <a:prstGeom prst="rect">
            <a:avLst/>
          </a:prstGeom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7218F93-96F9-462F-BAFB-7E145859AED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99171" y="-99171"/>
            <a:ext cx="1058956" cy="1257300"/>
          </a:xfrm>
          <a:prstGeom prst="rect">
            <a:avLst/>
          </a:prstGeom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EC3E81A0-9853-4F50-A63A-07CECD490F96}"/>
              </a:ext>
            </a:extLst>
          </p:cNvPr>
          <p:cNvSpPr txBox="1"/>
          <p:nvPr/>
        </p:nvSpPr>
        <p:spPr>
          <a:xfrm>
            <a:off x="1367227" y="80984"/>
            <a:ext cx="2193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ART TWO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17F88ED-E918-45C7-8ED4-BD8E20C0EB3A}"/>
              </a:ext>
            </a:extLst>
          </p:cNvPr>
          <p:cNvSpPr txBox="1"/>
          <p:nvPr/>
        </p:nvSpPr>
        <p:spPr>
          <a:xfrm>
            <a:off x="3258258" y="120128"/>
            <a:ext cx="2957124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000" spc="600" dirty="0">
                <a:latin typeface="+mn-lt"/>
                <a:ea typeface="+mn-ea"/>
                <a:cs typeface="+mn-ea"/>
                <a:sym typeface="+mn-lt"/>
              </a:rPr>
              <a:t>教学设计</a:t>
            </a:r>
          </a:p>
        </p:txBody>
      </p:sp>
      <p:grpSp>
        <p:nvGrpSpPr>
          <p:cNvPr id="6" name="Group 3">
            <a:extLst>
              <a:ext uri="{FF2B5EF4-FFF2-40B4-BE49-F238E27FC236}">
                <a16:creationId xmlns:a16="http://schemas.microsoft.com/office/drawing/2014/main" id="{62C82E73-FCFF-4775-B729-46F46D1AE5C2}"/>
              </a:ext>
            </a:extLst>
          </p:cNvPr>
          <p:cNvGrpSpPr/>
          <p:nvPr/>
        </p:nvGrpSpPr>
        <p:grpSpPr>
          <a:xfrm>
            <a:off x="1257300" y="3662775"/>
            <a:ext cx="1499696" cy="396309"/>
            <a:chOff x="1424694" y="3437117"/>
            <a:chExt cx="1499779" cy="396331"/>
          </a:xfrm>
          <a:solidFill>
            <a:srgbClr val="D00000"/>
          </a:solidFill>
        </p:grpSpPr>
        <p:sp>
          <p:nvSpPr>
            <p:cNvPr id="10" name="Round Same Side Corner Rectangle 4">
              <a:extLst>
                <a:ext uri="{FF2B5EF4-FFF2-40B4-BE49-F238E27FC236}">
                  <a16:creationId xmlns:a16="http://schemas.microsoft.com/office/drawing/2014/main" id="{F276FAE3-A862-416F-9640-EFCEA0D1A518}"/>
                </a:ext>
              </a:extLst>
            </p:cNvPr>
            <p:cNvSpPr/>
            <p:nvPr/>
          </p:nvSpPr>
          <p:spPr>
            <a:xfrm rot="16200000">
              <a:off x="2049734" y="2958708"/>
              <a:ext cx="249700" cy="1499779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en-GB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1" name="Oval 13">
              <a:extLst>
                <a:ext uri="{FF2B5EF4-FFF2-40B4-BE49-F238E27FC236}">
                  <a16:creationId xmlns:a16="http://schemas.microsoft.com/office/drawing/2014/main" id="{2A67F90B-2FFF-44AC-BF9E-811DB340688C}"/>
                </a:ext>
              </a:extLst>
            </p:cNvPr>
            <p:cNvSpPr/>
            <p:nvPr/>
          </p:nvSpPr>
          <p:spPr>
            <a:xfrm>
              <a:off x="2014338" y="3437117"/>
              <a:ext cx="320492" cy="32049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en-GB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2" name="Group 10">
            <a:extLst>
              <a:ext uri="{FF2B5EF4-FFF2-40B4-BE49-F238E27FC236}">
                <a16:creationId xmlns:a16="http://schemas.microsoft.com/office/drawing/2014/main" id="{C0C0B0B2-9D24-4634-9CE1-D510E1DB0CB2}"/>
              </a:ext>
            </a:extLst>
          </p:cNvPr>
          <p:cNvGrpSpPr/>
          <p:nvPr/>
        </p:nvGrpSpPr>
        <p:grpSpPr>
          <a:xfrm>
            <a:off x="2825781" y="3809397"/>
            <a:ext cx="1499696" cy="385307"/>
            <a:chOff x="2993261" y="3583747"/>
            <a:chExt cx="1499779" cy="385328"/>
          </a:xfrm>
          <a:solidFill>
            <a:srgbClr val="F57B26"/>
          </a:solidFill>
        </p:grpSpPr>
        <p:sp>
          <p:nvSpPr>
            <p:cNvPr id="13" name="Round Same Side Corner Rectangle 6">
              <a:extLst>
                <a:ext uri="{FF2B5EF4-FFF2-40B4-BE49-F238E27FC236}">
                  <a16:creationId xmlns:a16="http://schemas.microsoft.com/office/drawing/2014/main" id="{36A669C6-A05C-4C60-BDF2-CBAD1D5DC293}"/>
                </a:ext>
              </a:extLst>
            </p:cNvPr>
            <p:cNvSpPr/>
            <p:nvPr/>
          </p:nvSpPr>
          <p:spPr>
            <a:xfrm rot="5400000" flipH="1">
              <a:off x="3618301" y="2958707"/>
              <a:ext cx="249700" cy="1499779"/>
            </a:xfrm>
            <a:prstGeom prst="round2Same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en-GB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4" name="Oval 14">
              <a:extLst>
                <a:ext uri="{FF2B5EF4-FFF2-40B4-BE49-F238E27FC236}">
                  <a16:creationId xmlns:a16="http://schemas.microsoft.com/office/drawing/2014/main" id="{12349B30-E2F2-41C8-84F9-C809144D05EF}"/>
                </a:ext>
              </a:extLst>
            </p:cNvPr>
            <p:cNvSpPr/>
            <p:nvPr/>
          </p:nvSpPr>
          <p:spPr>
            <a:xfrm>
              <a:off x="3582905" y="3648583"/>
              <a:ext cx="320492" cy="32049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en-GB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5" name="Group 11">
            <a:extLst>
              <a:ext uri="{FF2B5EF4-FFF2-40B4-BE49-F238E27FC236}">
                <a16:creationId xmlns:a16="http://schemas.microsoft.com/office/drawing/2014/main" id="{85F123CE-F581-46AF-8985-18F718C7EB18}"/>
              </a:ext>
            </a:extLst>
          </p:cNvPr>
          <p:cNvGrpSpPr/>
          <p:nvPr/>
        </p:nvGrpSpPr>
        <p:grpSpPr>
          <a:xfrm>
            <a:off x="4394261" y="3662774"/>
            <a:ext cx="1499696" cy="396308"/>
            <a:chOff x="4561827" y="3437117"/>
            <a:chExt cx="1499779" cy="396330"/>
          </a:xfrm>
          <a:solidFill>
            <a:srgbClr val="6FCEFE"/>
          </a:solidFill>
        </p:grpSpPr>
        <p:sp>
          <p:nvSpPr>
            <p:cNvPr id="16" name="Round Same Side Corner Rectangle 7">
              <a:extLst>
                <a:ext uri="{FF2B5EF4-FFF2-40B4-BE49-F238E27FC236}">
                  <a16:creationId xmlns:a16="http://schemas.microsoft.com/office/drawing/2014/main" id="{849CD5BE-66BF-4BB7-9156-7F81233FD613}"/>
                </a:ext>
              </a:extLst>
            </p:cNvPr>
            <p:cNvSpPr/>
            <p:nvPr/>
          </p:nvSpPr>
          <p:spPr>
            <a:xfrm rot="5400000" flipH="1">
              <a:off x="5186867" y="2958707"/>
              <a:ext cx="249700" cy="1499779"/>
            </a:xfrm>
            <a:prstGeom prst="round2Same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en-GB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7" name="Oval 15">
              <a:extLst>
                <a:ext uri="{FF2B5EF4-FFF2-40B4-BE49-F238E27FC236}">
                  <a16:creationId xmlns:a16="http://schemas.microsoft.com/office/drawing/2014/main" id="{566B01CB-C364-4C6A-A546-F3C85FD4F938}"/>
                </a:ext>
              </a:extLst>
            </p:cNvPr>
            <p:cNvSpPr/>
            <p:nvPr/>
          </p:nvSpPr>
          <p:spPr>
            <a:xfrm>
              <a:off x="5220257" y="3437117"/>
              <a:ext cx="320492" cy="32049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en-GB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8" name="Group 12">
            <a:extLst>
              <a:ext uri="{FF2B5EF4-FFF2-40B4-BE49-F238E27FC236}">
                <a16:creationId xmlns:a16="http://schemas.microsoft.com/office/drawing/2014/main" id="{7A02DCFD-8FEF-46A6-9E14-276D991255BF}"/>
              </a:ext>
            </a:extLst>
          </p:cNvPr>
          <p:cNvGrpSpPr/>
          <p:nvPr/>
        </p:nvGrpSpPr>
        <p:grpSpPr>
          <a:xfrm>
            <a:off x="5962743" y="3809397"/>
            <a:ext cx="1499696" cy="385307"/>
            <a:chOff x="6130393" y="3583747"/>
            <a:chExt cx="1499779" cy="385328"/>
          </a:xfrm>
          <a:solidFill>
            <a:srgbClr val="60A757"/>
          </a:solidFill>
        </p:grpSpPr>
        <p:sp>
          <p:nvSpPr>
            <p:cNvPr id="19" name="Round Same Side Corner Rectangle 8">
              <a:extLst>
                <a:ext uri="{FF2B5EF4-FFF2-40B4-BE49-F238E27FC236}">
                  <a16:creationId xmlns:a16="http://schemas.microsoft.com/office/drawing/2014/main" id="{F936C61F-C05B-4F72-A17F-7F2B9F82E547}"/>
                </a:ext>
              </a:extLst>
            </p:cNvPr>
            <p:cNvSpPr/>
            <p:nvPr/>
          </p:nvSpPr>
          <p:spPr>
            <a:xfrm rot="5400000" flipH="1">
              <a:off x="6755433" y="2958707"/>
              <a:ext cx="249700" cy="1499779"/>
            </a:xfrm>
            <a:prstGeom prst="round2Same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en-GB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20" name="Oval 16">
              <a:extLst>
                <a:ext uri="{FF2B5EF4-FFF2-40B4-BE49-F238E27FC236}">
                  <a16:creationId xmlns:a16="http://schemas.microsoft.com/office/drawing/2014/main" id="{D05C45CC-4D33-42DC-AE57-0396293D72D1}"/>
                </a:ext>
              </a:extLst>
            </p:cNvPr>
            <p:cNvSpPr/>
            <p:nvPr/>
          </p:nvSpPr>
          <p:spPr>
            <a:xfrm>
              <a:off x="6720037" y="3648583"/>
              <a:ext cx="320492" cy="32049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en-GB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1" name="Group 35">
            <a:extLst>
              <a:ext uri="{FF2B5EF4-FFF2-40B4-BE49-F238E27FC236}">
                <a16:creationId xmlns:a16="http://schemas.microsoft.com/office/drawing/2014/main" id="{EE64C7E8-BBA8-4D04-B5DF-D7C891A3D5E8}"/>
              </a:ext>
            </a:extLst>
          </p:cNvPr>
          <p:cNvGrpSpPr/>
          <p:nvPr/>
        </p:nvGrpSpPr>
        <p:grpSpPr>
          <a:xfrm>
            <a:off x="9099703" y="3809396"/>
            <a:ext cx="1499696" cy="385306"/>
            <a:chOff x="9267526" y="3583748"/>
            <a:chExt cx="1499779" cy="385327"/>
          </a:xfrm>
          <a:solidFill>
            <a:srgbClr val="6FCEFE"/>
          </a:solidFill>
        </p:grpSpPr>
        <p:sp>
          <p:nvSpPr>
            <p:cNvPr id="22" name="Round Same Side Corner Rectangle 5">
              <a:extLst>
                <a:ext uri="{FF2B5EF4-FFF2-40B4-BE49-F238E27FC236}">
                  <a16:creationId xmlns:a16="http://schemas.microsoft.com/office/drawing/2014/main" id="{B7564168-317A-4C06-B81C-773B157752E1}"/>
                </a:ext>
              </a:extLst>
            </p:cNvPr>
            <p:cNvSpPr/>
            <p:nvPr/>
          </p:nvSpPr>
          <p:spPr>
            <a:xfrm rot="5400000" flipH="1">
              <a:off x="9892566" y="2958708"/>
              <a:ext cx="249700" cy="1499779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en-GB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23" name="Oval 17">
              <a:extLst>
                <a:ext uri="{FF2B5EF4-FFF2-40B4-BE49-F238E27FC236}">
                  <a16:creationId xmlns:a16="http://schemas.microsoft.com/office/drawing/2014/main" id="{20513562-3198-48B0-A756-4B2D28953DC4}"/>
                </a:ext>
              </a:extLst>
            </p:cNvPr>
            <p:cNvSpPr/>
            <p:nvPr/>
          </p:nvSpPr>
          <p:spPr>
            <a:xfrm>
              <a:off x="9857169" y="3648583"/>
              <a:ext cx="320492" cy="32049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en-GB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4" name="Group 19">
            <a:extLst>
              <a:ext uri="{FF2B5EF4-FFF2-40B4-BE49-F238E27FC236}">
                <a16:creationId xmlns:a16="http://schemas.microsoft.com/office/drawing/2014/main" id="{FD7708EA-BEB2-4C60-8246-CEE054496857}"/>
              </a:ext>
            </a:extLst>
          </p:cNvPr>
          <p:cNvGrpSpPr/>
          <p:nvPr/>
        </p:nvGrpSpPr>
        <p:grpSpPr>
          <a:xfrm>
            <a:off x="7531223" y="3662775"/>
            <a:ext cx="1499696" cy="396309"/>
            <a:chOff x="7698960" y="3437117"/>
            <a:chExt cx="1499779" cy="396331"/>
          </a:xfrm>
          <a:solidFill>
            <a:srgbClr val="D00000"/>
          </a:solidFill>
        </p:grpSpPr>
        <p:sp>
          <p:nvSpPr>
            <p:cNvPr id="25" name="Round Same Side Corner Rectangle 9">
              <a:extLst>
                <a:ext uri="{FF2B5EF4-FFF2-40B4-BE49-F238E27FC236}">
                  <a16:creationId xmlns:a16="http://schemas.microsoft.com/office/drawing/2014/main" id="{8F044E78-F6D5-4501-810A-6F506FD62F17}"/>
                </a:ext>
              </a:extLst>
            </p:cNvPr>
            <p:cNvSpPr/>
            <p:nvPr/>
          </p:nvSpPr>
          <p:spPr>
            <a:xfrm rot="5400000" flipH="1">
              <a:off x="8324000" y="2958708"/>
              <a:ext cx="249700" cy="1499779"/>
            </a:xfrm>
            <a:prstGeom prst="round2Same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en-GB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26" name="Oval 18">
              <a:extLst>
                <a:ext uri="{FF2B5EF4-FFF2-40B4-BE49-F238E27FC236}">
                  <a16:creationId xmlns:a16="http://schemas.microsoft.com/office/drawing/2014/main" id="{5251D9CA-7BB8-4B2A-A0A2-6D48BD371CA4}"/>
                </a:ext>
              </a:extLst>
            </p:cNvPr>
            <p:cNvSpPr/>
            <p:nvPr/>
          </p:nvSpPr>
          <p:spPr>
            <a:xfrm>
              <a:off x="8357389" y="3437117"/>
              <a:ext cx="320492" cy="32049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en-GB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7" name="Group 20">
            <a:extLst>
              <a:ext uri="{FF2B5EF4-FFF2-40B4-BE49-F238E27FC236}">
                <a16:creationId xmlns:a16="http://schemas.microsoft.com/office/drawing/2014/main" id="{6C02377C-CC8B-4719-8A9A-845E1060544E}"/>
              </a:ext>
            </a:extLst>
          </p:cNvPr>
          <p:cNvGrpSpPr/>
          <p:nvPr/>
        </p:nvGrpSpPr>
        <p:grpSpPr>
          <a:xfrm>
            <a:off x="9617391" y="4280368"/>
            <a:ext cx="464319" cy="465112"/>
            <a:chOff x="9145588" y="4435475"/>
            <a:chExt cx="464344" cy="465138"/>
          </a:xfrm>
          <a:solidFill>
            <a:srgbClr val="6FCEFE"/>
          </a:solidFill>
        </p:grpSpPr>
        <p:sp>
          <p:nvSpPr>
            <p:cNvPr id="28" name="AutoShape 7">
              <a:extLst>
                <a:ext uri="{FF2B5EF4-FFF2-40B4-BE49-F238E27FC236}">
                  <a16:creationId xmlns:a16="http://schemas.microsoft.com/office/drawing/2014/main" id="{F0F97CB7-E052-4B0C-A0FB-2F897B7808F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588" y="4435475"/>
              <a:ext cx="464344" cy="465138"/>
            </a:xfrm>
            <a:custGeom>
              <a:avLst/>
              <a:gdLst>
                <a:gd name="T0" fmla="+- 0 10800 1271"/>
                <a:gd name="T1" fmla="*/ T0 w 19058"/>
                <a:gd name="T2" fmla="+- 0 10799 1270"/>
                <a:gd name="T3" fmla="*/ 10799 h 19059"/>
                <a:gd name="T4" fmla="+- 0 10800 1271"/>
                <a:gd name="T5" fmla="*/ T4 w 19058"/>
                <a:gd name="T6" fmla="+- 0 10799 1270"/>
                <a:gd name="T7" fmla="*/ 10799 h 19059"/>
                <a:gd name="T8" fmla="+- 0 10800 1271"/>
                <a:gd name="T9" fmla="*/ T8 w 19058"/>
                <a:gd name="T10" fmla="+- 0 10799 1270"/>
                <a:gd name="T11" fmla="*/ 10799 h 19059"/>
                <a:gd name="T12" fmla="+- 0 10800 1271"/>
                <a:gd name="T13" fmla="*/ T12 w 19058"/>
                <a:gd name="T14" fmla="+- 0 10799 1270"/>
                <a:gd name="T15" fmla="*/ 10799 h 1905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19058" h="19059">
                  <a:moveTo>
                    <a:pt x="6430" y="17268"/>
                  </a:moveTo>
                  <a:cubicBezTo>
                    <a:pt x="2162" y="15559"/>
                    <a:pt x="82" y="10698"/>
                    <a:pt x="1790" y="6431"/>
                  </a:cubicBezTo>
                  <a:cubicBezTo>
                    <a:pt x="3499" y="2164"/>
                    <a:pt x="8360" y="81"/>
                    <a:pt x="12627" y="1791"/>
                  </a:cubicBezTo>
                  <a:cubicBezTo>
                    <a:pt x="16894" y="3499"/>
                    <a:pt x="18975" y="8361"/>
                    <a:pt x="17267" y="12628"/>
                  </a:cubicBezTo>
                  <a:cubicBezTo>
                    <a:pt x="15558" y="16895"/>
                    <a:pt x="10696" y="18976"/>
                    <a:pt x="6430" y="17268"/>
                  </a:cubicBezTo>
                  <a:moveTo>
                    <a:pt x="13070" y="685"/>
                  </a:moveTo>
                  <a:cubicBezTo>
                    <a:pt x="8186" y="-1270"/>
                    <a:pt x="2641" y="1103"/>
                    <a:pt x="685" y="5987"/>
                  </a:cubicBezTo>
                  <a:cubicBezTo>
                    <a:pt x="-1271" y="10872"/>
                    <a:pt x="1103" y="16418"/>
                    <a:pt x="5987" y="18373"/>
                  </a:cubicBezTo>
                  <a:cubicBezTo>
                    <a:pt x="10871" y="20330"/>
                    <a:pt x="16416" y="17955"/>
                    <a:pt x="18373" y="13071"/>
                  </a:cubicBezTo>
                  <a:cubicBezTo>
                    <a:pt x="20329" y="8186"/>
                    <a:pt x="17954" y="2641"/>
                    <a:pt x="13070" y="685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29" name="AutoShape 8">
              <a:extLst>
                <a:ext uri="{FF2B5EF4-FFF2-40B4-BE49-F238E27FC236}">
                  <a16:creationId xmlns:a16="http://schemas.microsoft.com/office/drawing/2014/main" id="{7784E618-42E5-4A0F-A158-33AE3EAC7FC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788" y="4638675"/>
              <a:ext cx="57944" cy="57944"/>
            </a:xfrm>
            <a:custGeom>
              <a:avLst/>
              <a:gdLst>
                <a:gd name="T0" fmla="+- 0 10801 1272"/>
                <a:gd name="T1" fmla="*/ T0 w 19059"/>
                <a:gd name="T2" fmla="+- 0 10800 1272"/>
                <a:gd name="T3" fmla="*/ 10800 h 19056"/>
                <a:gd name="T4" fmla="+- 0 10801 1272"/>
                <a:gd name="T5" fmla="*/ T4 w 19059"/>
                <a:gd name="T6" fmla="+- 0 10800 1272"/>
                <a:gd name="T7" fmla="*/ 10800 h 19056"/>
                <a:gd name="T8" fmla="+- 0 10801 1272"/>
                <a:gd name="T9" fmla="*/ T8 w 19059"/>
                <a:gd name="T10" fmla="+- 0 10800 1272"/>
                <a:gd name="T11" fmla="*/ 10800 h 19056"/>
                <a:gd name="T12" fmla="+- 0 10801 1272"/>
                <a:gd name="T13" fmla="*/ T12 w 19059"/>
                <a:gd name="T14" fmla="+- 0 10800 1272"/>
                <a:gd name="T15" fmla="*/ 10800 h 19056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19059" h="19056">
                  <a:moveTo>
                    <a:pt x="7753" y="13951"/>
                  </a:moveTo>
                  <a:cubicBezTo>
                    <a:pt x="5315" y="12969"/>
                    <a:pt x="4129" y="10197"/>
                    <a:pt x="5101" y="7755"/>
                  </a:cubicBezTo>
                  <a:cubicBezTo>
                    <a:pt x="6083" y="5323"/>
                    <a:pt x="8860" y="4132"/>
                    <a:pt x="11298" y="5104"/>
                  </a:cubicBezTo>
                  <a:cubicBezTo>
                    <a:pt x="13735" y="6081"/>
                    <a:pt x="14926" y="8858"/>
                    <a:pt x="13949" y="11300"/>
                  </a:cubicBezTo>
                  <a:cubicBezTo>
                    <a:pt x="12972" y="13737"/>
                    <a:pt x="10195" y="14923"/>
                    <a:pt x="7753" y="13951"/>
                  </a:cubicBezTo>
                  <a:moveTo>
                    <a:pt x="13070" y="686"/>
                  </a:moveTo>
                  <a:cubicBezTo>
                    <a:pt x="8190" y="-1272"/>
                    <a:pt x="2640" y="1104"/>
                    <a:pt x="686" y="5988"/>
                  </a:cubicBezTo>
                  <a:cubicBezTo>
                    <a:pt x="-1272" y="10872"/>
                    <a:pt x="1105" y="16416"/>
                    <a:pt x="5985" y="18369"/>
                  </a:cubicBezTo>
                  <a:cubicBezTo>
                    <a:pt x="10870" y="20328"/>
                    <a:pt x="16415" y="17951"/>
                    <a:pt x="18374" y="13072"/>
                  </a:cubicBezTo>
                  <a:cubicBezTo>
                    <a:pt x="20328" y="8188"/>
                    <a:pt x="17960" y="2644"/>
                    <a:pt x="13070" y="686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30" name="AutoShape 9">
              <a:extLst>
                <a:ext uri="{FF2B5EF4-FFF2-40B4-BE49-F238E27FC236}">
                  <a16:creationId xmlns:a16="http://schemas.microsoft.com/office/drawing/2014/main" id="{B50C670F-AFBD-4EFF-8587-A4CAA3272F84}"/>
                </a:ext>
              </a:extLst>
            </p:cNvPr>
            <p:cNvSpPr>
              <a:spLocks/>
            </p:cNvSpPr>
            <p:nvPr/>
          </p:nvSpPr>
          <p:spPr bwMode="auto">
            <a:xfrm>
              <a:off x="9290050" y="4580732"/>
              <a:ext cx="174625" cy="174625"/>
            </a:xfrm>
            <a:custGeom>
              <a:avLst/>
              <a:gdLst>
                <a:gd name="T0" fmla="+- 0 10800 1271"/>
                <a:gd name="T1" fmla="*/ T0 w 19059"/>
                <a:gd name="T2" fmla="+- 0 10800 1271"/>
                <a:gd name="T3" fmla="*/ 10800 h 19058"/>
                <a:gd name="T4" fmla="+- 0 10800 1271"/>
                <a:gd name="T5" fmla="*/ T4 w 19059"/>
                <a:gd name="T6" fmla="+- 0 10800 1271"/>
                <a:gd name="T7" fmla="*/ 10800 h 19058"/>
                <a:gd name="T8" fmla="+- 0 10800 1271"/>
                <a:gd name="T9" fmla="*/ T8 w 19059"/>
                <a:gd name="T10" fmla="+- 0 10800 1271"/>
                <a:gd name="T11" fmla="*/ 10800 h 19058"/>
                <a:gd name="T12" fmla="+- 0 10800 1271"/>
                <a:gd name="T13" fmla="*/ T12 w 19059"/>
                <a:gd name="T14" fmla="+- 0 10800 1271"/>
                <a:gd name="T15" fmla="*/ 10800 h 19058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19059" h="19058">
                  <a:moveTo>
                    <a:pt x="7169" y="15424"/>
                  </a:moveTo>
                  <a:cubicBezTo>
                    <a:pt x="3916" y="14123"/>
                    <a:pt x="2331" y="10417"/>
                    <a:pt x="3632" y="7167"/>
                  </a:cubicBezTo>
                  <a:cubicBezTo>
                    <a:pt x="4934" y="3917"/>
                    <a:pt x="8638" y="2331"/>
                    <a:pt x="11889" y="3632"/>
                  </a:cubicBezTo>
                  <a:cubicBezTo>
                    <a:pt x="15141" y="4934"/>
                    <a:pt x="16728" y="8640"/>
                    <a:pt x="15425" y="11890"/>
                  </a:cubicBezTo>
                  <a:cubicBezTo>
                    <a:pt x="14124" y="15140"/>
                    <a:pt x="10419" y="16728"/>
                    <a:pt x="7169" y="15424"/>
                  </a:cubicBezTo>
                  <a:moveTo>
                    <a:pt x="13071" y="685"/>
                  </a:moveTo>
                  <a:cubicBezTo>
                    <a:pt x="8186" y="-1271"/>
                    <a:pt x="2639" y="1104"/>
                    <a:pt x="686" y="5987"/>
                  </a:cubicBezTo>
                  <a:cubicBezTo>
                    <a:pt x="-1271" y="10871"/>
                    <a:pt x="1104" y="16416"/>
                    <a:pt x="5987" y="18372"/>
                  </a:cubicBezTo>
                  <a:cubicBezTo>
                    <a:pt x="10874" y="20329"/>
                    <a:pt x="16418" y="17955"/>
                    <a:pt x="18375" y="13070"/>
                  </a:cubicBezTo>
                  <a:cubicBezTo>
                    <a:pt x="20328" y="8186"/>
                    <a:pt x="17956" y="2641"/>
                    <a:pt x="13071" y="685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31" name="AutoShape 10">
              <a:extLst>
                <a:ext uri="{FF2B5EF4-FFF2-40B4-BE49-F238E27FC236}">
                  <a16:creationId xmlns:a16="http://schemas.microsoft.com/office/drawing/2014/main" id="{046CC838-F400-4243-91EC-730146ABD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06732" y="4696619"/>
              <a:ext cx="72231" cy="74613"/>
            </a:xfrm>
            <a:custGeom>
              <a:avLst/>
              <a:gdLst>
                <a:gd name="T0" fmla="+- 0 10804 288"/>
                <a:gd name="T1" fmla="*/ T0 w 21033"/>
                <a:gd name="T2" fmla="+- 0 10798 277"/>
                <a:gd name="T3" fmla="*/ 10798 h 21043"/>
                <a:gd name="T4" fmla="+- 0 10804 288"/>
                <a:gd name="T5" fmla="*/ T4 w 21033"/>
                <a:gd name="T6" fmla="+- 0 10798 277"/>
                <a:gd name="T7" fmla="*/ 10798 h 21043"/>
                <a:gd name="T8" fmla="+- 0 10804 288"/>
                <a:gd name="T9" fmla="*/ T8 w 21033"/>
                <a:gd name="T10" fmla="+- 0 10798 277"/>
                <a:gd name="T11" fmla="*/ 10798 h 21043"/>
                <a:gd name="T12" fmla="+- 0 10804 288"/>
                <a:gd name="T13" fmla="*/ T12 w 21033"/>
                <a:gd name="T14" fmla="+- 0 10798 277"/>
                <a:gd name="T15" fmla="*/ 10798 h 21043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033" h="21043">
                  <a:moveTo>
                    <a:pt x="20881" y="2825"/>
                  </a:moveTo>
                  <a:cubicBezTo>
                    <a:pt x="21312" y="1771"/>
                    <a:pt x="20787" y="572"/>
                    <a:pt x="19713" y="149"/>
                  </a:cubicBezTo>
                  <a:cubicBezTo>
                    <a:pt x="18636" y="-277"/>
                    <a:pt x="17414" y="238"/>
                    <a:pt x="16984" y="1296"/>
                  </a:cubicBezTo>
                  <a:lnTo>
                    <a:pt x="16980" y="1292"/>
                  </a:lnTo>
                  <a:cubicBezTo>
                    <a:pt x="13964" y="8692"/>
                    <a:pt x="8182" y="14184"/>
                    <a:pt x="1269" y="17089"/>
                  </a:cubicBezTo>
                  <a:cubicBezTo>
                    <a:pt x="207" y="17536"/>
                    <a:pt x="-288" y="18747"/>
                    <a:pt x="170" y="19789"/>
                  </a:cubicBezTo>
                  <a:cubicBezTo>
                    <a:pt x="629" y="20840"/>
                    <a:pt x="1863" y="21323"/>
                    <a:pt x="2924" y="20876"/>
                  </a:cubicBezTo>
                  <a:cubicBezTo>
                    <a:pt x="2961" y="20860"/>
                    <a:pt x="2982" y="20828"/>
                    <a:pt x="3014" y="20815"/>
                  </a:cubicBezTo>
                  <a:cubicBezTo>
                    <a:pt x="10874" y="17480"/>
                    <a:pt x="17451" y="11227"/>
                    <a:pt x="20877" y="2825"/>
                  </a:cubicBezTo>
                  <a:cubicBezTo>
                    <a:pt x="20877" y="2825"/>
                    <a:pt x="20881" y="2825"/>
                    <a:pt x="20881" y="2825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32" name="AutoShape 11">
              <a:extLst>
                <a:ext uri="{FF2B5EF4-FFF2-40B4-BE49-F238E27FC236}">
                  <a16:creationId xmlns:a16="http://schemas.microsoft.com/office/drawing/2014/main" id="{4A898132-2AC1-44C1-AFE5-2BCBE4D8D9F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5307" y="4725988"/>
              <a:ext cx="103981" cy="106363"/>
            </a:xfrm>
            <a:custGeom>
              <a:avLst/>
              <a:gdLst>
                <a:gd name="T0" fmla="+- 0 10803 203"/>
                <a:gd name="T1" fmla="*/ T0 w 21201"/>
                <a:gd name="T2" fmla="+- 0 10798 194"/>
                <a:gd name="T3" fmla="*/ 10798 h 21209"/>
                <a:gd name="T4" fmla="+- 0 10803 203"/>
                <a:gd name="T5" fmla="*/ T4 w 21201"/>
                <a:gd name="T6" fmla="+- 0 10798 194"/>
                <a:gd name="T7" fmla="*/ 10798 h 21209"/>
                <a:gd name="T8" fmla="+- 0 10803 203"/>
                <a:gd name="T9" fmla="*/ T8 w 21201"/>
                <a:gd name="T10" fmla="+- 0 10798 194"/>
                <a:gd name="T11" fmla="*/ 10798 h 21209"/>
                <a:gd name="T12" fmla="+- 0 10803 203"/>
                <a:gd name="T13" fmla="*/ T12 w 21201"/>
                <a:gd name="T14" fmla="+- 0 10798 194"/>
                <a:gd name="T15" fmla="*/ 10798 h 2120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201" h="21209">
                  <a:moveTo>
                    <a:pt x="20267" y="104"/>
                  </a:moveTo>
                  <a:cubicBezTo>
                    <a:pt x="19508" y="-194"/>
                    <a:pt x="18645" y="169"/>
                    <a:pt x="18339" y="912"/>
                  </a:cubicBezTo>
                  <a:cubicBezTo>
                    <a:pt x="14991" y="9110"/>
                    <a:pt x="8568" y="15198"/>
                    <a:pt x="894" y="18420"/>
                  </a:cubicBezTo>
                  <a:cubicBezTo>
                    <a:pt x="144" y="18735"/>
                    <a:pt x="-203" y="19589"/>
                    <a:pt x="121" y="20327"/>
                  </a:cubicBezTo>
                  <a:cubicBezTo>
                    <a:pt x="442" y="21068"/>
                    <a:pt x="1314" y="21406"/>
                    <a:pt x="2067" y="21090"/>
                  </a:cubicBezTo>
                  <a:cubicBezTo>
                    <a:pt x="2102" y="21073"/>
                    <a:pt x="2125" y="21042"/>
                    <a:pt x="2159" y="21025"/>
                  </a:cubicBezTo>
                  <a:cubicBezTo>
                    <a:pt x="10491" y="17500"/>
                    <a:pt x="17461" y="10881"/>
                    <a:pt x="21095" y="1994"/>
                  </a:cubicBezTo>
                  <a:cubicBezTo>
                    <a:pt x="21397" y="1250"/>
                    <a:pt x="21026" y="404"/>
                    <a:pt x="20267" y="10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33" name="AutoShape 12">
              <a:extLst>
                <a:ext uri="{FF2B5EF4-FFF2-40B4-BE49-F238E27FC236}">
                  <a16:creationId xmlns:a16="http://schemas.microsoft.com/office/drawing/2014/main" id="{54CB6100-7F2D-44A2-BDF0-DE401152099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21019" y="4711700"/>
              <a:ext cx="88106" cy="89694"/>
            </a:xfrm>
            <a:custGeom>
              <a:avLst/>
              <a:gdLst>
                <a:gd name="T0" fmla="+- 0 10802 238"/>
                <a:gd name="T1" fmla="*/ T0 w 21128"/>
                <a:gd name="T2" fmla="+- 0 10797 227"/>
                <a:gd name="T3" fmla="*/ 10797 h 21141"/>
                <a:gd name="T4" fmla="+- 0 10802 238"/>
                <a:gd name="T5" fmla="*/ T4 w 21128"/>
                <a:gd name="T6" fmla="+- 0 10797 227"/>
                <a:gd name="T7" fmla="*/ 10797 h 21141"/>
                <a:gd name="T8" fmla="+- 0 10802 238"/>
                <a:gd name="T9" fmla="*/ T8 w 21128"/>
                <a:gd name="T10" fmla="+- 0 10797 227"/>
                <a:gd name="T11" fmla="*/ 10797 h 21141"/>
                <a:gd name="T12" fmla="+- 0 10802 238"/>
                <a:gd name="T13" fmla="*/ T12 w 21128"/>
                <a:gd name="T14" fmla="+- 0 10797 227"/>
                <a:gd name="T15" fmla="*/ 10797 h 2114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128" h="21141">
                  <a:moveTo>
                    <a:pt x="20035" y="122"/>
                  </a:moveTo>
                  <a:cubicBezTo>
                    <a:pt x="19142" y="-227"/>
                    <a:pt x="18134" y="195"/>
                    <a:pt x="17778" y="1071"/>
                  </a:cubicBezTo>
                  <a:cubicBezTo>
                    <a:pt x="14571" y="8936"/>
                    <a:pt x="8412" y="14778"/>
                    <a:pt x="1051" y="17867"/>
                  </a:cubicBezTo>
                  <a:lnTo>
                    <a:pt x="1054" y="17867"/>
                  </a:lnTo>
                  <a:cubicBezTo>
                    <a:pt x="172" y="18240"/>
                    <a:pt x="-238" y="19242"/>
                    <a:pt x="142" y="20108"/>
                  </a:cubicBezTo>
                  <a:cubicBezTo>
                    <a:pt x="522" y="20973"/>
                    <a:pt x="1543" y="21372"/>
                    <a:pt x="2425" y="21003"/>
                  </a:cubicBezTo>
                  <a:cubicBezTo>
                    <a:pt x="2459" y="20986"/>
                    <a:pt x="2476" y="20956"/>
                    <a:pt x="2514" y="20936"/>
                  </a:cubicBezTo>
                  <a:cubicBezTo>
                    <a:pt x="10651" y="17491"/>
                    <a:pt x="17459" y="11027"/>
                    <a:pt x="21002" y="2339"/>
                  </a:cubicBezTo>
                  <a:cubicBezTo>
                    <a:pt x="21361" y="1463"/>
                    <a:pt x="20927" y="472"/>
                    <a:pt x="20035" y="122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34" name="AutoShape 13">
              <a:extLst>
                <a:ext uri="{FF2B5EF4-FFF2-40B4-BE49-F238E27FC236}">
                  <a16:creationId xmlns:a16="http://schemas.microsoft.com/office/drawing/2014/main" id="{3AA65348-7004-448A-912F-A97B4A2C00F5}"/>
                </a:ext>
              </a:extLst>
            </p:cNvPr>
            <p:cNvSpPr>
              <a:spLocks/>
            </p:cNvSpPr>
            <p:nvPr/>
          </p:nvSpPr>
          <p:spPr bwMode="auto">
            <a:xfrm>
              <a:off x="9275763" y="4566444"/>
              <a:ext cx="73025" cy="73819"/>
            </a:xfrm>
            <a:custGeom>
              <a:avLst/>
              <a:gdLst>
                <a:gd name="T0" fmla="+- 0 10797 278"/>
                <a:gd name="T1" fmla="*/ T0 w 21039"/>
                <a:gd name="T2" fmla="+- 0 10803 281"/>
                <a:gd name="T3" fmla="*/ 10803 h 21044"/>
                <a:gd name="T4" fmla="+- 0 10797 278"/>
                <a:gd name="T5" fmla="*/ T4 w 21039"/>
                <a:gd name="T6" fmla="+- 0 10803 281"/>
                <a:gd name="T7" fmla="*/ 10803 h 21044"/>
                <a:gd name="T8" fmla="+- 0 10797 278"/>
                <a:gd name="T9" fmla="*/ T8 w 21039"/>
                <a:gd name="T10" fmla="+- 0 10803 281"/>
                <a:gd name="T11" fmla="*/ 10803 h 21044"/>
                <a:gd name="T12" fmla="+- 0 10797 278"/>
                <a:gd name="T13" fmla="*/ T12 w 21039"/>
                <a:gd name="T14" fmla="+- 0 10803 281"/>
                <a:gd name="T15" fmla="*/ 10803 h 21044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039" h="21044">
                  <a:moveTo>
                    <a:pt x="20871" y="1248"/>
                  </a:moveTo>
                  <a:cubicBezTo>
                    <a:pt x="20411" y="197"/>
                    <a:pt x="19177" y="-281"/>
                    <a:pt x="18112" y="169"/>
                  </a:cubicBezTo>
                  <a:cubicBezTo>
                    <a:pt x="18075" y="181"/>
                    <a:pt x="18050" y="214"/>
                    <a:pt x="18021" y="226"/>
                  </a:cubicBezTo>
                  <a:cubicBezTo>
                    <a:pt x="10159" y="3562"/>
                    <a:pt x="3583" y="9820"/>
                    <a:pt x="152" y="18220"/>
                  </a:cubicBezTo>
                  <a:lnTo>
                    <a:pt x="148" y="18220"/>
                  </a:lnTo>
                  <a:cubicBezTo>
                    <a:pt x="-278" y="19278"/>
                    <a:pt x="242" y="20473"/>
                    <a:pt x="1320" y="20896"/>
                  </a:cubicBezTo>
                  <a:cubicBezTo>
                    <a:pt x="2398" y="21318"/>
                    <a:pt x="3620" y="20803"/>
                    <a:pt x="4046" y="19749"/>
                  </a:cubicBezTo>
                  <a:lnTo>
                    <a:pt x="4051" y="19749"/>
                  </a:lnTo>
                  <a:cubicBezTo>
                    <a:pt x="7068" y="12356"/>
                    <a:pt x="12856" y="6858"/>
                    <a:pt x="19764" y="3956"/>
                  </a:cubicBezTo>
                  <a:cubicBezTo>
                    <a:pt x="20830" y="3506"/>
                    <a:pt x="21322" y="2298"/>
                    <a:pt x="20871" y="124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35" name="AutoShape 14">
              <a:extLst>
                <a:ext uri="{FF2B5EF4-FFF2-40B4-BE49-F238E27FC236}">
                  <a16:creationId xmlns:a16="http://schemas.microsoft.com/office/drawing/2014/main" id="{2FB1165F-2E4B-4F97-8E51-D314037DD0E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17819" y="4508500"/>
              <a:ext cx="103981" cy="105569"/>
            </a:xfrm>
            <a:custGeom>
              <a:avLst/>
              <a:gdLst>
                <a:gd name="T0" fmla="+- 0 10797 198"/>
                <a:gd name="T1" fmla="*/ T0 w 21199"/>
                <a:gd name="T2" fmla="+- 0 10802 198"/>
                <a:gd name="T3" fmla="*/ 10802 h 21208"/>
                <a:gd name="T4" fmla="+- 0 10797 198"/>
                <a:gd name="T5" fmla="*/ T4 w 21199"/>
                <a:gd name="T6" fmla="+- 0 10802 198"/>
                <a:gd name="T7" fmla="*/ 10802 h 21208"/>
                <a:gd name="T8" fmla="+- 0 10797 198"/>
                <a:gd name="T9" fmla="*/ T8 w 21199"/>
                <a:gd name="T10" fmla="+- 0 10802 198"/>
                <a:gd name="T11" fmla="*/ 10802 h 21208"/>
                <a:gd name="T12" fmla="+- 0 10797 198"/>
                <a:gd name="T13" fmla="*/ T12 w 21199"/>
                <a:gd name="T14" fmla="+- 0 10802 198"/>
                <a:gd name="T15" fmla="*/ 10802 h 21208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199" h="21208">
                  <a:moveTo>
                    <a:pt x="21077" y="880"/>
                  </a:moveTo>
                  <a:cubicBezTo>
                    <a:pt x="20753" y="142"/>
                    <a:pt x="19881" y="-198"/>
                    <a:pt x="19129" y="117"/>
                  </a:cubicBezTo>
                  <a:cubicBezTo>
                    <a:pt x="19097" y="131"/>
                    <a:pt x="19071" y="162"/>
                    <a:pt x="19039" y="179"/>
                  </a:cubicBezTo>
                  <a:cubicBezTo>
                    <a:pt x="10706" y="3707"/>
                    <a:pt x="3739" y="10322"/>
                    <a:pt x="106" y="19208"/>
                  </a:cubicBezTo>
                  <a:cubicBezTo>
                    <a:pt x="-198" y="19957"/>
                    <a:pt x="172" y="20803"/>
                    <a:pt x="934" y="21101"/>
                  </a:cubicBezTo>
                  <a:cubicBezTo>
                    <a:pt x="1689" y="21401"/>
                    <a:pt x="2552" y="21041"/>
                    <a:pt x="2859" y="20292"/>
                  </a:cubicBezTo>
                  <a:cubicBezTo>
                    <a:pt x="6206" y="12096"/>
                    <a:pt x="12625" y="6008"/>
                    <a:pt x="20301" y="2787"/>
                  </a:cubicBezTo>
                  <a:cubicBezTo>
                    <a:pt x="21051" y="2469"/>
                    <a:pt x="21402" y="1618"/>
                    <a:pt x="21077" y="88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36" name="AutoShape 15">
              <a:extLst>
                <a:ext uri="{FF2B5EF4-FFF2-40B4-BE49-F238E27FC236}">
                  <a16:creationId xmlns:a16="http://schemas.microsoft.com/office/drawing/2014/main" id="{D5FD537D-8B1F-4D75-AAEF-E4FDF0015B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7188" y="4537075"/>
              <a:ext cx="88107" cy="90488"/>
            </a:xfrm>
            <a:custGeom>
              <a:avLst/>
              <a:gdLst>
                <a:gd name="T0" fmla="+- 0 10796 232"/>
                <a:gd name="T1" fmla="*/ T0 w 21129"/>
                <a:gd name="T2" fmla="+- 0 10804 234"/>
                <a:gd name="T3" fmla="*/ 10804 h 21141"/>
                <a:gd name="T4" fmla="+- 0 10796 232"/>
                <a:gd name="T5" fmla="*/ T4 w 21129"/>
                <a:gd name="T6" fmla="+- 0 10804 234"/>
                <a:gd name="T7" fmla="*/ 10804 h 21141"/>
                <a:gd name="T8" fmla="+- 0 10796 232"/>
                <a:gd name="T9" fmla="*/ T8 w 21129"/>
                <a:gd name="T10" fmla="+- 0 10804 234"/>
                <a:gd name="T11" fmla="*/ 10804 h 21141"/>
                <a:gd name="T12" fmla="+- 0 10796 232"/>
                <a:gd name="T13" fmla="*/ T12 w 21129"/>
                <a:gd name="T14" fmla="+- 0 10804 234"/>
                <a:gd name="T15" fmla="*/ 10804 h 2114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129" h="21141">
                  <a:moveTo>
                    <a:pt x="20075" y="3267"/>
                  </a:moveTo>
                  <a:cubicBezTo>
                    <a:pt x="20953" y="2898"/>
                    <a:pt x="21368" y="1899"/>
                    <a:pt x="20987" y="1030"/>
                  </a:cubicBezTo>
                  <a:cubicBezTo>
                    <a:pt x="20611" y="168"/>
                    <a:pt x="19589" y="-234"/>
                    <a:pt x="18707" y="138"/>
                  </a:cubicBezTo>
                  <a:cubicBezTo>
                    <a:pt x="18670" y="152"/>
                    <a:pt x="18649" y="185"/>
                    <a:pt x="18615" y="198"/>
                  </a:cubicBezTo>
                  <a:cubicBezTo>
                    <a:pt x="10481" y="3647"/>
                    <a:pt x="3673" y="10118"/>
                    <a:pt x="124" y="18802"/>
                  </a:cubicBezTo>
                  <a:cubicBezTo>
                    <a:pt x="-232" y="19678"/>
                    <a:pt x="205" y="20666"/>
                    <a:pt x="1094" y="21019"/>
                  </a:cubicBezTo>
                  <a:cubicBezTo>
                    <a:pt x="1983" y="21366"/>
                    <a:pt x="2991" y="20946"/>
                    <a:pt x="3354" y="20071"/>
                  </a:cubicBezTo>
                  <a:cubicBezTo>
                    <a:pt x="6561" y="12205"/>
                    <a:pt x="12717" y="6360"/>
                    <a:pt x="20075" y="3274"/>
                  </a:cubicBezTo>
                  <a:cubicBezTo>
                    <a:pt x="20075" y="3274"/>
                    <a:pt x="20075" y="3267"/>
                    <a:pt x="20075" y="3267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37" name="Group 30">
            <a:extLst>
              <a:ext uri="{FF2B5EF4-FFF2-40B4-BE49-F238E27FC236}">
                <a16:creationId xmlns:a16="http://schemas.microsoft.com/office/drawing/2014/main" id="{EDF09CFD-809B-40A5-A70B-BDB0945B932E}"/>
              </a:ext>
            </a:extLst>
          </p:cNvPr>
          <p:cNvGrpSpPr/>
          <p:nvPr/>
        </p:nvGrpSpPr>
        <p:grpSpPr>
          <a:xfrm>
            <a:off x="8117694" y="3127929"/>
            <a:ext cx="464319" cy="464319"/>
            <a:chOff x="7287419" y="2577307"/>
            <a:chExt cx="464344" cy="464344"/>
          </a:xfrm>
          <a:solidFill>
            <a:srgbClr val="D00000"/>
          </a:solidFill>
        </p:grpSpPr>
        <p:sp>
          <p:nvSpPr>
            <p:cNvPr id="38" name="AutoShape 56">
              <a:extLst>
                <a:ext uri="{FF2B5EF4-FFF2-40B4-BE49-F238E27FC236}">
                  <a16:creationId xmlns:a16="http://schemas.microsoft.com/office/drawing/2014/main" id="{6B6D4729-C53B-459A-897C-AAEFA04DDB1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7419" y="2577307"/>
              <a:ext cx="145256" cy="464344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6988" y="7316"/>
                  </a:moveTo>
                  <a:cubicBezTo>
                    <a:pt x="16954" y="7352"/>
                    <a:pt x="16923" y="7387"/>
                    <a:pt x="16883" y="7423"/>
                  </a:cubicBezTo>
                  <a:cubicBezTo>
                    <a:pt x="16677" y="7601"/>
                    <a:pt x="16414" y="7770"/>
                    <a:pt x="16066" y="7920"/>
                  </a:cubicBezTo>
                  <a:cubicBezTo>
                    <a:pt x="16057" y="7924"/>
                    <a:pt x="16044" y="7927"/>
                    <a:pt x="16038" y="7931"/>
                  </a:cubicBezTo>
                  <a:cubicBezTo>
                    <a:pt x="15662" y="8092"/>
                    <a:pt x="15214" y="8234"/>
                    <a:pt x="14705" y="8354"/>
                  </a:cubicBezTo>
                  <a:cubicBezTo>
                    <a:pt x="14697" y="8357"/>
                    <a:pt x="14692" y="8358"/>
                    <a:pt x="14686" y="8359"/>
                  </a:cubicBezTo>
                  <a:cubicBezTo>
                    <a:pt x="14163" y="8482"/>
                    <a:pt x="13584" y="8581"/>
                    <a:pt x="12960" y="8649"/>
                  </a:cubicBezTo>
                  <a:cubicBezTo>
                    <a:pt x="12279" y="8726"/>
                    <a:pt x="11560" y="8774"/>
                    <a:pt x="10800" y="8774"/>
                  </a:cubicBezTo>
                  <a:cubicBezTo>
                    <a:pt x="10037" y="8774"/>
                    <a:pt x="9318" y="8726"/>
                    <a:pt x="8640" y="8649"/>
                  </a:cubicBezTo>
                  <a:cubicBezTo>
                    <a:pt x="8016" y="8581"/>
                    <a:pt x="7435" y="8482"/>
                    <a:pt x="6914" y="8359"/>
                  </a:cubicBezTo>
                  <a:cubicBezTo>
                    <a:pt x="6908" y="8358"/>
                    <a:pt x="6901" y="8357"/>
                    <a:pt x="6893" y="8354"/>
                  </a:cubicBezTo>
                  <a:cubicBezTo>
                    <a:pt x="6385" y="8234"/>
                    <a:pt x="5937" y="8092"/>
                    <a:pt x="5562" y="7931"/>
                  </a:cubicBezTo>
                  <a:cubicBezTo>
                    <a:pt x="5553" y="7927"/>
                    <a:pt x="5541" y="7924"/>
                    <a:pt x="5531" y="7920"/>
                  </a:cubicBezTo>
                  <a:cubicBezTo>
                    <a:pt x="5184" y="7770"/>
                    <a:pt x="4921" y="7601"/>
                    <a:pt x="4715" y="7423"/>
                  </a:cubicBezTo>
                  <a:cubicBezTo>
                    <a:pt x="4676" y="7387"/>
                    <a:pt x="4644" y="7352"/>
                    <a:pt x="4612" y="7316"/>
                  </a:cubicBezTo>
                  <a:cubicBezTo>
                    <a:pt x="4437" y="7136"/>
                    <a:pt x="4320" y="6947"/>
                    <a:pt x="4320" y="6750"/>
                  </a:cubicBezTo>
                  <a:cubicBezTo>
                    <a:pt x="4320" y="6550"/>
                    <a:pt x="4437" y="6362"/>
                    <a:pt x="4612" y="6181"/>
                  </a:cubicBezTo>
                  <a:cubicBezTo>
                    <a:pt x="4644" y="6146"/>
                    <a:pt x="4676" y="6110"/>
                    <a:pt x="4715" y="6076"/>
                  </a:cubicBezTo>
                  <a:cubicBezTo>
                    <a:pt x="4921" y="5898"/>
                    <a:pt x="5184" y="5729"/>
                    <a:pt x="5531" y="5577"/>
                  </a:cubicBezTo>
                  <a:cubicBezTo>
                    <a:pt x="5541" y="5574"/>
                    <a:pt x="5553" y="5571"/>
                    <a:pt x="5562" y="5567"/>
                  </a:cubicBezTo>
                  <a:cubicBezTo>
                    <a:pt x="5937" y="5407"/>
                    <a:pt x="6385" y="5264"/>
                    <a:pt x="6893" y="5144"/>
                  </a:cubicBezTo>
                  <a:cubicBezTo>
                    <a:pt x="6901" y="5142"/>
                    <a:pt x="6908" y="5140"/>
                    <a:pt x="6914" y="5138"/>
                  </a:cubicBezTo>
                  <a:cubicBezTo>
                    <a:pt x="7435" y="5017"/>
                    <a:pt x="8016" y="4918"/>
                    <a:pt x="8640" y="4848"/>
                  </a:cubicBezTo>
                  <a:cubicBezTo>
                    <a:pt x="9318" y="4773"/>
                    <a:pt x="10037" y="4725"/>
                    <a:pt x="10800" y="4725"/>
                  </a:cubicBezTo>
                  <a:cubicBezTo>
                    <a:pt x="11560" y="4725"/>
                    <a:pt x="12279" y="4773"/>
                    <a:pt x="12960" y="4848"/>
                  </a:cubicBezTo>
                  <a:cubicBezTo>
                    <a:pt x="13584" y="4918"/>
                    <a:pt x="14163" y="5017"/>
                    <a:pt x="14686" y="5138"/>
                  </a:cubicBezTo>
                  <a:cubicBezTo>
                    <a:pt x="14692" y="5140"/>
                    <a:pt x="14697" y="5142"/>
                    <a:pt x="14705" y="5144"/>
                  </a:cubicBezTo>
                  <a:cubicBezTo>
                    <a:pt x="15214" y="5264"/>
                    <a:pt x="15662" y="5407"/>
                    <a:pt x="16038" y="5567"/>
                  </a:cubicBezTo>
                  <a:cubicBezTo>
                    <a:pt x="16044" y="5571"/>
                    <a:pt x="16057" y="5574"/>
                    <a:pt x="16066" y="5577"/>
                  </a:cubicBezTo>
                  <a:cubicBezTo>
                    <a:pt x="16414" y="5729"/>
                    <a:pt x="16677" y="5898"/>
                    <a:pt x="16883" y="6076"/>
                  </a:cubicBezTo>
                  <a:cubicBezTo>
                    <a:pt x="16923" y="6110"/>
                    <a:pt x="16954" y="6146"/>
                    <a:pt x="16988" y="6181"/>
                  </a:cubicBezTo>
                  <a:cubicBezTo>
                    <a:pt x="17161" y="6362"/>
                    <a:pt x="17280" y="6550"/>
                    <a:pt x="17280" y="6750"/>
                  </a:cubicBezTo>
                  <a:cubicBezTo>
                    <a:pt x="17280" y="6947"/>
                    <a:pt x="17161" y="7136"/>
                    <a:pt x="16988" y="7316"/>
                  </a:cubicBezTo>
                  <a:moveTo>
                    <a:pt x="12960" y="19575"/>
                  </a:moveTo>
                  <a:cubicBezTo>
                    <a:pt x="12960" y="19948"/>
                    <a:pt x="11992" y="20249"/>
                    <a:pt x="10800" y="20249"/>
                  </a:cubicBezTo>
                  <a:cubicBezTo>
                    <a:pt x="9606" y="20249"/>
                    <a:pt x="8640" y="19948"/>
                    <a:pt x="8640" y="19575"/>
                  </a:cubicBezTo>
                  <a:lnTo>
                    <a:pt x="8640" y="10056"/>
                  </a:lnTo>
                  <a:cubicBezTo>
                    <a:pt x="9338" y="10101"/>
                    <a:pt x="10059" y="10124"/>
                    <a:pt x="10800" y="10124"/>
                  </a:cubicBezTo>
                  <a:cubicBezTo>
                    <a:pt x="11541" y="10124"/>
                    <a:pt x="12262" y="10101"/>
                    <a:pt x="12960" y="10056"/>
                  </a:cubicBezTo>
                  <a:cubicBezTo>
                    <a:pt x="12960" y="10056"/>
                    <a:pt x="12960" y="19575"/>
                    <a:pt x="12960" y="19575"/>
                  </a:cubicBezTo>
                  <a:close/>
                  <a:moveTo>
                    <a:pt x="8640" y="2025"/>
                  </a:moveTo>
                  <a:cubicBezTo>
                    <a:pt x="8640" y="1651"/>
                    <a:pt x="9606" y="1350"/>
                    <a:pt x="10800" y="1350"/>
                  </a:cubicBezTo>
                  <a:cubicBezTo>
                    <a:pt x="11992" y="1350"/>
                    <a:pt x="12960" y="1651"/>
                    <a:pt x="12960" y="2025"/>
                  </a:cubicBezTo>
                  <a:lnTo>
                    <a:pt x="12960" y="3442"/>
                  </a:lnTo>
                  <a:cubicBezTo>
                    <a:pt x="12262" y="3398"/>
                    <a:pt x="11541" y="3375"/>
                    <a:pt x="10800" y="3375"/>
                  </a:cubicBezTo>
                  <a:cubicBezTo>
                    <a:pt x="10059" y="3375"/>
                    <a:pt x="9338" y="3398"/>
                    <a:pt x="8640" y="3442"/>
                  </a:cubicBezTo>
                  <a:cubicBezTo>
                    <a:pt x="8640" y="3442"/>
                    <a:pt x="8640" y="2025"/>
                    <a:pt x="8640" y="2025"/>
                  </a:cubicBezTo>
                  <a:close/>
                  <a:moveTo>
                    <a:pt x="17280" y="4064"/>
                  </a:moveTo>
                  <a:lnTo>
                    <a:pt x="17280" y="2025"/>
                  </a:lnTo>
                  <a:cubicBezTo>
                    <a:pt x="17280" y="908"/>
                    <a:pt x="14373" y="0"/>
                    <a:pt x="10800" y="0"/>
                  </a:cubicBezTo>
                  <a:cubicBezTo>
                    <a:pt x="7225" y="0"/>
                    <a:pt x="4320" y="908"/>
                    <a:pt x="4320" y="2025"/>
                  </a:cubicBezTo>
                  <a:lnTo>
                    <a:pt x="4320" y="4064"/>
                  </a:lnTo>
                  <a:cubicBezTo>
                    <a:pt x="1710" y="4681"/>
                    <a:pt x="0" y="5649"/>
                    <a:pt x="0" y="6750"/>
                  </a:cubicBezTo>
                  <a:cubicBezTo>
                    <a:pt x="0" y="7850"/>
                    <a:pt x="1710" y="8818"/>
                    <a:pt x="4320" y="9434"/>
                  </a:cubicBezTo>
                  <a:lnTo>
                    <a:pt x="4320" y="19575"/>
                  </a:lnTo>
                  <a:cubicBezTo>
                    <a:pt x="4320" y="20691"/>
                    <a:pt x="7225" y="21599"/>
                    <a:pt x="10800" y="21599"/>
                  </a:cubicBezTo>
                  <a:cubicBezTo>
                    <a:pt x="14373" y="21599"/>
                    <a:pt x="17280" y="20691"/>
                    <a:pt x="17280" y="19575"/>
                  </a:cubicBezTo>
                  <a:lnTo>
                    <a:pt x="17280" y="9434"/>
                  </a:lnTo>
                  <a:cubicBezTo>
                    <a:pt x="19889" y="8818"/>
                    <a:pt x="21600" y="7850"/>
                    <a:pt x="21600" y="6750"/>
                  </a:cubicBezTo>
                  <a:cubicBezTo>
                    <a:pt x="21600" y="5649"/>
                    <a:pt x="19889" y="4681"/>
                    <a:pt x="17280" y="406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20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ea"/>
                <a:sym typeface="+mn-lt"/>
              </a:endParaRPr>
            </a:p>
          </p:txBody>
        </p:sp>
        <p:sp>
          <p:nvSpPr>
            <p:cNvPr id="39" name="AutoShape 57">
              <a:extLst>
                <a:ext uri="{FF2B5EF4-FFF2-40B4-BE49-F238E27FC236}">
                  <a16:creationId xmlns:a16="http://schemas.microsoft.com/office/drawing/2014/main" id="{36EF0724-1020-46DD-A7E2-3FA07924E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6507" y="2577307"/>
              <a:ext cx="145256" cy="464344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6988" y="7316"/>
                  </a:moveTo>
                  <a:cubicBezTo>
                    <a:pt x="16954" y="7352"/>
                    <a:pt x="16923" y="7387"/>
                    <a:pt x="16883" y="7423"/>
                  </a:cubicBezTo>
                  <a:cubicBezTo>
                    <a:pt x="16677" y="7601"/>
                    <a:pt x="16414" y="7770"/>
                    <a:pt x="16066" y="7920"/>
                  </a:cubicBezTo>
                  <a:cubicBezTo>
                    <a:pt x="16057" y="7924"/>
                    <a:pt x="16044" y="7927"/>
                    <a:pt x="16038" y="7931"/>
                  </a:cubicBezTo>
                  <a:cubicBezTo>
                    <a:pt x="15662" y="8092"/>
                    <a:pt x="15214" y="8234"/>
                    <a:pt x="14705" y="8354"/>
                  </a:cubicBezTo>
                  <a:cubicBezTo>
                    <a:pt x="14697" y="8357"/>
                    <a:pt x="14692" y="8358"/>
                    <a:pt x="14686" y="8359"/>
                  </a:cubicBezTo>
                  <a:cubicBezTo>
                    <a:pt x="14163" y="8482"/>
                    <a:pt x="13584" y="8581"/>
                    <a:pt x="12960" y="8649"/>
                  </a:cubicBezTo>
                  <a:cubicBezTo>
                    <a:pt x="12279" y="8726"/>
                    <a:pt x="11560" y="8774"/>
                    <a:pt x="10800" y="8774"/>
                  </a:cubicBezTo>
                  <a:cubicBezTo>
                    <a:pt x="10037" y="8774"/>
                    <a:pt x="9318" y="8726"/>
                    <a:pt x="8640" y="8649"/>
                  </a:cubicBezTo>
                  <a:cubicBezTo>
                    <a:pt x="8016" y="8581"/>
                    <a:pt x="7435" y="8482"/>
                    <a:pt x="6914" y="8359"/>
                  </a:cubicBezTo>
                  <a:cubicBezTo>
                    <a:pt x="6908" y="8358"/>
                    <a:pt x="6901" y="8357"/>
                    <a:pt x="6893" y="8354"/>
                  </a:cubicBezTo>
                  <a:cubicBezTo>
                    <a:pt x="6385" y="8234"/>
                    <a:pt x="5937" y="8092"/>
                    <a:pt x="5562" y="7931"/>
                  </a:cubicBezTo>
                  <a:cubicBezTo>
                    <a:pt x="5553" y="7927"/>
                    <a:pt x="5541" y="7924"/>
                    <a:pt x="5531" y="7920"/>
                  </a:cubicBezTo>
                  <a:cubicBezTo>
                    <a:pt x="5184" y="7770"/>
                    <a:pt x="4921" y="7601"/>
                    <a:pt x="4715" y="7423"/>
                  </a:cubicBezTo>
                  <a:cubicBezTo>
                    <a:pt x="4676" y="7387"/>
                    <a:pt x="4644" y="7352"/>
                    <a:pt x="4612" y="7316"/>
                  </a:cubicBezTo>
                  <a:cubicBezTo>
                    <a:pt x="4437" y="7136"/>
                    <a:pt x="4320" y="6947"/>
                    <a:pt x="4320" y="6750"/>
                  </a:cubicBezTo>
                  <a:cubicBezTo>
                    <a:pt x="4320" y="6550"/>
                    <a:pt x="4437" y="6362"/>
                    <a:pt x="4612" y="6181"/>
                  </a:cubicBezTo>
                  <a:cubicBezTo>
                    <a:pt x="4644" y="6146"/>
                    <a:pt x="4676" y="6110"/>
                    <a:pt x="4715" y="6076"/>
                  </a:cubicBezTo>
                  <a:cubicBezTo>
                    <a:pt x="4921" y="5898"/>
                    <a:pt x="5184" y="5729"/>
                    <a:pt x="5531" y="5577"/>
                  </a:cubicBezTo>
                  <a:cubicBezTo>
                    <a:pt x="5541" y="5574"/>
                    <a:pt x="5553" y="5571"/>
                    <a:pt x="5562" y="5567"/>
                  </a:cubicBezTo>
                  <a:cubicBezTo>
                    <a:pt x="5937" y="5407"/>
                    <a:pt x="6385" y="5264"/>
                    <a:pt x="6893" y="5144"/>
                  </a:cubicBezTo>
                  <a:cubicBezTo>
                    <a:pt x="6901" y="5142"/>
                    <a:pt x="6908" y="5140"/>
                    <a:pt x="6914" y="5138"/>
                  </a:cubicBezTo>
                  <a:cubicBezTo>
                    <a:pt x="7435" y="5017"/>
                    <a:pt x="8016" y="4918"/>
                    <a:pt x="8640" y="4848"/>
                  </a:cubicBezTo>
                  <a:cubicBezTo>
                    <a:pt x="9318" y="4773"/>
                    <a:pt x="10037" y="4725"/>
                    <a:pt x="10800" y="4725"/>
                  </a:cubicBezTo>
                  <a:cubicBezTo>
                    <a:pt x="11560" y="4725"/>
                    <a:pt x="12279" y="4773"/>
                    <a:pt x="12960" y="4848"/>
                  </a:cubicBezTo>
                  <a:cubicBezTo>
                    <a:pt x="13584" y="4918"/>
                    <a:pt x="14163" y="5017"/>
                    <a:pt x="14686" y="5138"/>
                  </a:cubicBezTo>
                  <a:cubicBezTo>
                    <a:pt x="14692" y="5140"/>
                    <a:pt x="14697" y="5142"/>
                    <a:pt x="14705" y="5144"/>
                  </a:cubicBezTo>
                  <a:cubicBezTo>
                    <a:pt x="15214" y="5264"/>
                    <a:pt x="15662" y="5407"/>
                    <a:pt x="16038" y="5567"/>
                  </a:cubicBezTo>
                  <a:cubicBezTo>
                    <a:pt x="16044" y="5571"/>
                    <a:pt x="16057" y="5574"/>
                    <a:pt x="16066" y="5577"/>
                  </a:cubicBezTo>
                  <a:cubicBezTo>
                    <a:pt x="16414" y="5729"/>
                    <a:pt x="16677" y="5898"/>
                    <a:pt x="16883" y="6076"/>
                  </a:cubicBezTo>
                  <a:cubicBezTo>
                    <a:pt x="16923" y="6110"/>
                    <a:pt x="16954" y="6146"/>
                    <a:pt x="16988" y="6181"/>
                  </a:cubicBezTo>
                  <a:cubicBezTo>
                    <a:pt x="17161" y="6362"/>
                    <a:pt x="17280" y="6550"/>
                    <a:pt x="17280" y="6750"/>
                  </a:cubicBezTo>
                  <a:cubicBezTo>
                    <a:pt x="17280" y="6947"/>
                    <a:pt x="17161" y="7136"/>
                    <a:pt x="16988" y="7316"/>
                  </a:cubicBezTo>
                  <a:moveTo>
                    <a:pt x="12960" y="19575"/>
                  </a:moveTo>
                  <a:cubicBezTo>
                    <a:pt x="12960" y="19948"/>
                    <a:pt x="11992" y="20249"/>
                    <a:pt x="10800" y="20249"/>
                  </a:cubicBezTo>
                  <a:cubicBezTo>
                    <a:pt x="9606" y="20249"/>
                    <a:pt x="8640" y="19948"/>
                    <a:pt x="8640" y="19575"/>
                  </a:cubicBezTo>
                  <a:lnTo>
                    <a:pt x="8640" y="10056"/>
                  </a:lnTo>
                  <a:cubicBezTo>
                    <a:pt x="9338" y="10101"/>
                    <a:pt x="10059" y="10124"/>
                    <a:pt x="10800" y="10124"/>
                  </a:cubicBezTo>
                  <a:cubicBezTo>
                    <a:pt x="11541" y="10124"/>
                    <a:pt x="12262" y="10101"/>
                    <a:pt x="12960" y="10056"/>
                  </a:cubicBezTo>
                  <a:cubicBezTo>
                    <a:pt x="12960" y="10056"/>
                    <a:pt x="12960" y="19575"/>
                    <a:pt x="12960" y="19575"/>
                  </a:cubicBezTo>
                  <a:close/>
                  <a:moveTo>
                    <a:pt x="8640" y="2025"/>
                  </a:moveTo>
                  <a:cubicBezTo>
                    <a:pt x="8640" y="1651"/>
                    <a:pt x="9606" y="1350"/>
                    <a:pt x="10800" y="1350"/>
                  </a:cubicBezTo>
                  <a:cubicBezTo>
                    <a:pt x="11992" y="1350"/>
                    <a:pt x="12960" y="1651"/>
                    <a:pt x="12960" y="2025"/>
                  </a:cubicBezTo>
                  <a:lnTo>
                    <a:pt x="12960" y="3442"/>
                  </a:lnTo>
                  <a:cubicBezTo>
                    <a:pt x="12262" y="3398"/>
                    <a:pt x="11541" y="3375"/>
                    <a:pt x="10800" y="3375"/>
                  </a:cubicBezTo>
                  <a:cubicBezTo>
                    <a:pt x="10059" y="3375"/>
                    <a:pt x="9338" y="3398"/>
                    <a:pt x="8640" y="3442"/>
                  </a:cubicBezTo>
                  <a:cubicBezTo>
                    <a:pt x="8640" y="3442"/>
                    <a:pt x="8640" y="2025"/>
                    <a:pt x="8640" y="2025"/>
                  </a:cubicBezTo>
                  <a:close/>
                  <a:moveTo>
                    <a:pt x="17280" y="4064"/>
                  </a:moveTo>
                  <a:lnTo>
                    <a:pt x="17280" y="2025"/>
                  </a:lnTo>
                  <a:cubicBezTo>
                    <a:pt x="17280" y="908"/>
                    <a:pt x="14373" y="0"/>
                    <a:pt x="10800" y="0"/>
                  </a:cubicBezTo>
                  <a:cubicBezTo>
                    <a:pt x="7225" y="0"/>
                    <a:pt x="4320" y="908"/>
                    <a:pt x="4320" y="2025"/>
                  </a:cubicBezTo>
                  <a:lnTo>
                    <a:pt x="4320" y="4064"/>
                  </a:lnTo>
                  <a:cubicBezTo>
                    <a:pt x="1710" y="4681"/>
                    <a:pt x="0" y="5649"/>
                    <a:pt x="0" y="6750"/>
                  </a:cubicBezTo>
                  <a:cubicBezTo>
                    <a:pt x="0" y="7850"/>
                    <a:pt x="1710" y="8818"/>
                    <a:pt x="4320" y="9434"/>
                  </a:cubicBezTo>
                  <a:lnTo>
                    <a:pt x="4320" y="19575"/>
                  </a:lnTo>
                  <a:cubicBezTo>
                    <a:pt x="4320" y="20691"/>
                    <a:pt x="7225" y="21599"/>
                    <a:pt x="10800" y="21599"/>
                  </a:cubicBezTo>
                  <a:cubicBezTo>
                    <a:pt x="14373" y="21599"/>
                    <a:pt x="17280" y="20691"/>
                    <a:pt x="17280" y="19575"/>
                  </a:cubicBezTo>
                  <a:lnTo>
                    <a:pt x="17280" y="9434"/>
                  </a:lnTo>
                  <a:cubicBezTo>
                    <a:pt x="19889" y="8818"/>
                    <a:pt x="21600" y="7850"/>
                    <a:pt x="21600" y="6750"/>
                  </a:cubicBezTo>
                  <a:cubicBezTo>
                    <a:pt x="21600" y="5649"/>
                    <a:pt x="19889" y="4681"/>
                    <a:pt x="17280" y="406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20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ea"/>
                <a:sym typeface="+mn-lt"/>
              </a:endParaRPr>
            </a:p>
          </p:txBody>
        </p:sp>
        <p:sp>
          <p:nvSpPr>
            <p:cNvPr id="40" name="AutoShape 58">
              <a:extLst>
                <a:ext uri="{FF2B5EF4-FFF2-40B4-BE49-F238E27FC236}">
                  <a16:creationId xmlns:a16="http://schemas.microsoft.com/office/drawing/2014/main" id="{FFAA3DD0-A19C-49B3-B0A5-2C5AD6A3E3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446963" y="2577307"/>
              <a:ext cx="145257" cy="464344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6988" y="15416"/>
                  </a:moveTo>
                  <a:cubicBezTo>
                    <a:pt x="16954" y="15452"/>
                    <a:pt x="16923" y="15487"/>
                    <a:pt x="16883" y="15523"/>
                  </a:cubicBezTo>
                  <a:cubicBezTo>
                    <a:pt x="16677" y="15701"/>
                    <a:pt x="16414" y="15870"/>
                    <a:pt x="16066" y="16020"/>
                  </a:cubicBezTo>
                  <a:cubicBezTo>
                    <a:pt x="16057" y="16024"/>
                    <a:pt x="16044" y="16027"/>
                    <a:pt x="16038" y="16031"/>
                  </a:cubicBezTo>
                  <a:cubicBezTo>
                    <a:pt x="15662" y="16192"/>
                    <a:pt x="15214" y="16334"/>
                    <a:pt x="14705" y="16454"/>
                  </a:cubicBezTo>
                  <a:cubicBezTo>
                    <a:pt x="14697" y="16457"/>
                    <a:pt x="14692" y="16458"/>
                    <a:pt x="14686" y="16459"/>
                  </a:cubicBezTo>
                  <a:cubicBezTo>
                    <a:pt x="14163" y="16582"/>
                    <a:pt x="13584" y="16681"/>
                    <a:pt x="12960" y="16749"/>
                  </a:cubicBezTo>
                  <a:cubicBezTo>
                    <a:pt x="12279" y="16826"/>
                    <a:pt x="11560" y="16875"/>
                    <a:pt x="10800" y="16875"/>
                  </a:cubicBezTo>
                  <a:cubicBezTo>
                    <a:pt x="10037" y="16875"/>
                    <a:pt x="9318" y="16826"/>
                    <a:pt x="8640" y="16749"/>
                  </a:cubicBezTo>
                  <a:cubicBezTo>
                    <a:pt x="8016" y="16681"/>
                    <a:pt x="7435" y="16582"/>
                    <a:pt x="6914" y="16459"/>
                  </a:cubicBezTo>
                  <a:cubicBezTo>
                    <a:pt x="6908" y="16458"/>
                    <a:pt x="6901" y="16457"/>
                    <a:pt x="6893" y="16454"/>
                  </a:cubicBezTo>
                  <a:cubicBezTo>
                    <a:pt x="6385" y="16334"/>
                    <a:pt x="5937" y="16192"/>
                    <a:pt x="5562" y="16031"/>
                  </a:cubicBezTo>
                  <a:cubicBezTo>
                    <a:pt x="5553" y="16027"/>
                    <a:pt x="5541" y="16024"/>
                    <a:pt x="5531" y="16020"/>
                  </a:cubicBezTo>
                  <a:cubicBezTo>
                    <a:pt x="5184" y="15870"/>
                    <a:pt x="4921" y="15701"/>
                    <a:pt x="4715" y="15523"/>
                  </a:cubicBezTo>
                  <a:cubicBezTo>
                    <a:pt x="4676" y="15487"/>
                    <a:pt x="4644" y="15452"/>
                    <a:pt x="4612" y="15416"/>
                  </a:cubicBezTo>
                  <a:cubicBezTo>
                    <a:pt x="4437" y="15236"/>
                    <a:pt x="4320" y="15047"/>
                    <a:pt x="4320" y="14850"/>
                  </a:cubicBezTo>
                  <a:cubicBezTo>
                    <a:pt x="4320" y="14650"/>
                    <a:pt x="4437" y="14462"/>
                    <a:pt x="4612" y="14281"/>
                  </a:cubicBezTo>
                  <a:cubicBezTo>
                    <a:pt x="4644" y="14246"/>
                    <a:pt x="4676" y="14210"/>
                    <a:pt x="4715" y="14176"/>
                  </a:cubicBezTo>
                  <a:cubicBezTo>
                    <a:pt x="4921" y="13998"/>
                    <a:pt x="5184" y="13829"/>
                    <a:pt x="5531" y="13677"/>
                  </a:cubicBezTo>
                  <a:cubicBezTo>
                    <a:pt x="5541" y="13674"/>
                    <a:pt x="5553" y="13671"/>
                    <a:pt x="5562" y="13667"/>
                  </a:cubicBezTo>
                  <a:cubicBezTo>
                    <a:pt x="5937" y="13507"/>
                    <a:pt x="6385" y="13364"/>
                    <a:pt x="6893" y="13244"/>
                  </a:cubicBezTo>
                  <a:cubicBezTo>
                    <a:pt x="6901" y="13242"/>
                    <a:pt x="6908" y="13240"/>
                    <a:pt x="6914" y="13238"/>
                  </a:cubicBezTo>
                  <a:cubicBezTo>
                    <a:pt x="7435" y="13117"/>
                    <a:pt x="8016" y="13018"/>
                    <a:pt x="8640" y="12948"/>
                  </a:cubicBezTo>
                  <a:cubicBezTo>
                    <a:pt x="9318" y="12873"/>
                    <a:pt x="10037" y="12825"/>
                    <a:pt x="10800" y="12825"/>
                  </a:cubicBezTo>
                  <a:cubicBezTo>
                    <a:pt x="11560" y="12825"/>
                    <a:pt x="12279" y="12873"/>
                    <a:pt x="12960" y="12948"/>
                  </a:cubicBezTo>
                  <a:cubicBezTo>
                    <a:pt x="13584" y="13018"/>
                    <a:pt x="14163" y="13117"/>
                    <a:pt x="14686" y="13238"/>
                  </a:cubicBezTo>
                  <a:cubicBezTo>
                    <a:pt x="14692" y="13240"/>
                    <a:pt x="14697" y="13242"/>
                    <a:pt x="14705" y="13244"/>
                  </a:cubicBezTo>
                  <a:cubicBezTo>
                    <a:pt x="15214" y="13364"/>
                    <a:pt x="15662" y="13507"/>
                    <a:pt x="16038" y="13667"/>
                  </a:cubicBezTo>
                  <a:cubicBezTo>
                    <a:pt x="16044" y="13671"/>
                    <a:pt x="16057" y="13674"/>
                    <a:pt x="16066" y="13677"/>
                  </a:cubicBezTo>
                  <a:cubicBezTo>
                    <a:pt x="16414" y="13829"/>
                    <a:pt x="16677" y="13998"/>
                    <a:pt x="16883" y="14176"/>
                  </a:cubicBezTo>
                  <a:cubicBezTo>
                    <a:pt x="16923" y="14210"/>
                    <a:pt x="16954" y="14246"/>
                    <a:pt x="16988" y="14281"/>
                  </a:cubicBezTo>
                  <a:cubicBezTo>
                    <a:pt x="17161" y="14462"/>
                    <a:pt x="17280" y="14650"/>
                    <a:pt x="17280" y="14850"/>
                  </a:cubicBezTo>
                  <a:cubicBezTo>
                    <a:pt x="17280" y="15047"/>
                    <a:pt x="17161" y="15236"/>
                    <a:pt x="16988" y="15416"/>
                  </a:cubicBezTo>
                  <a:moveTo>
                    <a:pt x="12960" y="19575"/>
                  </a:moveTo>
                  <a:cubicBezTo>
                    <a:pt x="12960" y="19948"/>
                    <a:pt x="11992" y="20249"/>
                    <a:pt x="10800" y="20249"/>
                  </a:cubicBezTo>
                  <a:cubicBezTo>
                    <a:pt x="9606" y="20249"/>
                    <a:pt x="8640" y="19948"/>
                    <a:pt x="8640" y="19575"/>
                  </a:cubicBezTo>
                  <a:lnTo>
                    <a:pt x="8640" y="18156"/>
                  </a:lnTo>
                  <a:cubicBezTo>
                    <a:pt x="9338" y="18201"/>
                    <a:pt x="10059" y="18225"/>
                    <a:pt x="10800" y="18225"/>
                  </a:cubicBezTo>
                  <a:cubicBezTo>
                    <a:pt x="11541" y="18225"/>
                    <a:pt x="12262" y="18201"/>
                    <a:pt x="12960" y="18156"/>
                  </a:cubicBezTo>
                  <a:cubicBezTo>
                    <a:pt x="12960" y="18156"/>
                    <a:pt x="12960" y="19575"/>
                    <a:pt x="12960" y="19575"/>
                  </a:cubicBezTo>
                  <a:close/>
                  <a:moveTo>
                    <a:pt x="8640" y="2025"/>
                  </a:moveTo>
                  <a:cubicBezTo>
                    <a:pt x="8640" y="1651"/>
                    <a:pt x="9606" y="1350"/>
                    <a:pt x="10800" y="1350"/>
                  </a:cubicBezTo>
                  <a:cubicBezTo>
                    <a:pt x="11992" y="1350"/>
                    <a:pt x="12960" y="1651"/>
                    <a:pt x="12960" y="2025"/>
                  </a:cubicBezTo>
                  <a:lnTo>
                    <a:pt x="12960" y="11542"/>
                  </a:lnTo>
                  <a:cubicBezTo>
                    <a:pt x="12262" y="11498"/>
                    <a:pt x="11541" y="11475"/>
                    <a:pt x="10800" y="11475"/>
                  </a:cubicBezTo>
                  <a:cubicBezTo>
                    <a:pt x="10059" y="11475"/>
                    <a:pt x="9338" y="11498"/>
                    <a:pt x="8640" y="11542"/>
                  </a:cubicBezTo>
                  <a:cubicBezTo>
                    <a:pt x="8640" y="11542"/>
                    <a:pt x="8640" y="2025"/>
                    <a:pt x="8640" y="2025"/>
                  </a:cubicBezTo>
                  <a:close/>
                  <a:moveTo>
                    <a:pt x="17280" y="12164"/>
                  </a:moveTo>
                  <a:lnTo>
                    <a:pt x="17280" y="2025"/>
                  </a:lnTo>
                  <a:cubicBezTo>
                    <a:pt x="17280" y="908"/>
                    <a:pt x="14373" y="0"/>
                    <a:pt x="10800" y="0"/>
                  </a:cubicBezTo>
                  <a:cubicBezTo>
                    <a:pt x="7225" y="0"/>
                    <a:pt x="4320" y="908"/>
                    <a:pt x="4320" y="2025"/>
                  </a:cubicBezTo>
                  <a:lnTo>
                    <a:pt x="4320" y="12164"/>
                  </a:lnTo>
                  <a:cubicBezTo>
                    <a:pt x="1710" y="12781"/>
                    <a:pt x="0" y="13749"/>
                    <a:pt x="0" y="14850"/>
                  </a:cubicBezTo>
                  <a:cubicBezTo>
                    <a:pt x="0" y="15950"/>
                    <a:pt x="1710" y="16918"/>
                    <a:pt x="4320" y="17534"/>
                  </a:cubicBezTo>
                  <a:lnTo>
                    <a:pt x="4320" y="19575"/>
                  </a:lnTo>
                  <a:cubicBezTo>
                    <a:pt x="4320" y="20691"/>
                    <a:pt x="7225" y="21599"/>
                    <a:pt x="10800" y="21599"/>
                  </a:cubicBezTo>
                  <a:cubicBezTo>
                    <a:pt x="14373" y="21599"/>
                    <a:pt x="17280" y="20691"/>
                    <a:pt x="17280" y="19575"/>
                  </a:cubicBezTo>
                  <a:lnTo>
                    <a:pt x="17280" y="17534"/>
                  </a:lnTo>
                  <a:cubicBezTo>
                    <a:pt x="19889" y="16918"/>
                    <a:pt x="21600" y="15950"/>
                    <a:pt x="21600" y="14850"/>
                  </a:cubicBezTo>
                  <a:cubicBezTo>
                    <a:pt x="21600" y="13749"/>
                    <a:pt x="19889" y="12781"/>
                    <a:pt x="17280" y="1216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20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ea"/>
                <a:sym typeface="+mn-lt"/>
              </a:endParaRPr>
            </a:p>
          </p:txBody>
        </p:sp>
      </p:grpSp>
      <p:sp>
        <p:nvSpPr>
          <p:cNvPr id="41" name="AutoShape 59">
            <a:extLst>
              <a:ext uri="{FF2B5EF4-FFF2-40B4-BE49-F238E27FC236}">
                <a16:creationId xmlns:a16="http://schemas.microsoft.com/office/drawing/2014/main" id="{0F1966E5-FC17-44EB-B29D-CFB05C2DCAFE}"/>
              </a:ext>
            </a:extLst>
          </p:cNvPr>
          <p:cNvSpPr>
            <a:spLocks/>
          </p:cNvSpPr>
          <p:nvPr/>
        </p:nvSpPr>
        <p:spPr bwMode="auto">
          <a:xfrm>
            <a:off x="3270755" y="4270944"/>
            <a:ext cx="465112" cy="464319"/>
          </a:xfrm>
          <a:custGeom>
            <a:avLst/>
            <a:gdLst>
              <a:gd name="T0" fmla="+- 0 10794 23"/>
              <a:gd name="T1" fmla="*/ T0 w 21543"/>
              <a:gd name="T2" fmla="*/ 10800 h 21600"/>
              <a:gd name="T3" fmla="+- 0 10794 23"/>
              <a:gd name="T4" fmla="*/ T3 w 21543"/>
              <a:gd name="T5" fmla="*/ 10800 h 21600"/>
              <a:gd name="T6" fmla="+- 0 10794 23"/>
              <a:gd name="T7" fmla="*/ T6 w 21543"/>
              <a:gd name="T8" fmla="*/ 10800 h 21600"/>
              <a:gd name="T9" fmla="+- 0 10794 23"/>
              <a:gd name="T10" fmla="*/ T9 w 21543"/>
              <a:gd name="T11" fmla="*/ 10800 h 21600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</a:cxnLst>
            <a:rect l="0" t="0" r="r" b="b"/>
            <a:pathLst>
              <a:path w="21543" h="21600">
                <a:moveTo>
                  <a:pt x="16976" y="19986"/>
                </a:moveTo>
                <a:lnTo>
                  <a:pt x="11226" y="17680"/>
                </a:lnTo>
                <a:cubicBezTo>
                  <a:pt x="11088" y="17626"/>
                  <a:pt x="10946" y="17608"/>
                  <a:pt x="10806" y="17600"/>
                </a:cubicBezTo>
                <a:lnTo>
                  <a:pt x="19660" y="3837"/>
                </a:lnTo>
                <a:cubicBezTo>
                  <a:pt x="19660" y="3837"/>
                  <a:pt x="16976" y="19986"/>
                  <a:pt x="16976" y="19986"/>
                </a:cubicBezTo>
                <a:close/>
                <a:moveTo>
                  <a:pt x="6859" y="16244"/>
                </a:moveTo>
                <a:cubicBezTo>
                  <a:pt x="6858" y="16242"/>
                  <a:pt x="6855" y="16240"/>
                  <a:pt x="6854" y="16238"/>
                </a:cubicBezTo>
                <a:lnTo>
                  <a:pt x="19606" y="2552"/>
                </a:lnTo>
                <a:lnTo>
                  <a:pt x="8735" y="19536"/>
                </a:lnTo>
                <a:cubicBezTo>
                  <a:pt x="8735" y="19536"/>
                  <a:pt x="6859" y="16244"/>
                  <a:pt x="6859" y="16244"/>
                </a:cubicBezTo>
                <a:close/>
                <a:moveTo>
                  <a:pt x="2111" y="14024"/>
                </a:moveTo>
                <a:lnTo>
                  <a:pt x="17712" y="3595"/>
                </a:lnTo>
                <a:lnTo>
                  <a:pt x="6369" y="15770"/>
                </a:lnTo>
                <a:cubicBezTo>
                  <a:pt x="6309" y="15734"/>
                  <a:pt x="6256" y="15687"/>
                  <a:pt x="6190" y="15660"/>
                </a:cubicBezTo>
                <a:cubicBezTo>
                  <a:pt x="6190" y="15660"/>
                  <a:pt x="2111" y="14024"/>
                  <a:pt x="2111" y="14024"/>
                </a:cubicBezTo>
                <a:close/>
                <a:moveTo>
                  <a:pt x="21234" y="108"/>
                </a:moveTo>
                <a:cubicBezTo>
                  <a:pt x="21123" y="35"/>
                  <a:pt x="20996" y="0"/>
                  <a:pt x="20868" y="0"/>
                </a:cubicBezTo>
                <a:cubicBezTo>
                  <a:pt x="20738" y="0"/>
                  <a:pt x="20608" y="36"/>
                  <a:pt x="20495" y="113"/>
                </a:cubicBezTo>
                <a:lnTo>
                  <a:pt x="299" y="13613"/>
                </a:lnTo>
                <a:cubicBezTo>
                  <a:pt x="91" y="13751"/>
                  <a:pt x="-23" y="13995"/>
                  <a:pt x="3" y="14244"/>
                </a:cubicBezTo>
                <a:cubicBezTo>
                  <a:pt x="28" y="14494"/>
                  <a:pt x="190" y="14708"/>
                  <a:pt x="422" y="14801"/>
                </a:cubicBezTo>
                <a:lnTo>
                  <a:pt x="5689" y="16914"/>
                </a:lnTo>
                <a:lnTo>
                  <a:pt x="8166" y="21259"/>
                </a:lnTo>
                <a:cubicBezTo>
                  <a:pt x="8284" y="21468"/>
                  <a:pt x="8505" y="21597"/>
                  <a:pt x="8743" y="21599"/>
                </a:cubicBezTo>
                <a:lnTo>
                  <a:pt x="8751" y="21599"/>
                </a:lnTo>
                <a:cubicBezTo>
                  <a:pt x="8987" y="21599"/>
                  <a:pt x="9206" y="21474"/>
                  <a:pt x="9328" y="21271"/>
                </a:cubicBezTo>
                <a:lnTo>
                  <a:pt x="10726" y="18934"/>
                </a:lnTo>
                <a:lnTo>
                  <a:pt x="17253" y="21551"/>
                </a:lnTo>
                <a:cubicBezTo>
                  <a:pt x="17332" y="21584"/>
                  <a:pt x="17418" y="21599"/>
                  <a:pt x="17502" y="21599"/>
                </a:cubicBezTo>
                <a:cubicBezTo>
                  <a:pt x="17617" y="21599"/>
                  <a:pt x="17731" y="21571"/>
                  <a:pt x="17832" y="21512"/>
                </a:cubicBezTo>
                <a:cubicBezTo>
                  <a:pt x="18010" y="21412"/>
                  <a:pt x="18133" y="21238"/>
                  <a:pt x="18167" y="21035"/>
                </a:cubicBezTo>
                <a:lnTo>
                  <a:pt x="21533" y="785"/>
                </a:lnTo>
                <a:cubicBezTo>
                  <a:pt x="21576" y="520"/>
                  <a:pt x="21459" y="254"/>
                  <a:pt x="21234" y="108"/>
                </a:cubicBezTo>
              </a:path>
            </a:pathLst>
          </a:custGeom>
          <a:solidFill>
            <a:srgbClr val="F57B2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19049" tIns="19049" rIns="19049" bIns="19049" anchor="ctr"/>
          <a:lstStyle/>
          <a:p>
            <a:pPr algn="ctr" defTabSz="228570" hangingPunct="0">
              <a:lnSpc>
                <a:spcPct val="130000"/>
              </a:lnSpc>
            </a:pPr>
            <a:endParaRPr lang="en-US" sz="1399">
              <a:solidFill>
                <a:schemeClr val="tx1">
                  <a:lumMod val="50000"/>
                  <a:lumOff val="50000"/>
                </a:schemeClr>
              </a:solidFill>
              <a:cs typeface="+mn-ea"/>
              <a:sym typeface="+mn-lt"/>
            </a:endParaRPr>
          </a:p>
        </p:txBody>
      </p:sp>
      <p:grpSp>
        <p:nvGrpSpPr>
          <p:cNvPr id="42" name="Group 38">
            <a:extLst>
              <a:ext uri="{FF2B5EF4-FFF2-40B4-BE49-F238E27FC236}">
                <a16:creationId xmlns:a16="http://schemas.microsoft.com/office/drawing/2014/main" id="{3F60FB29-B481-4BFD-869A-155F95A1C0E3}"/>
              </a:ext>
            </a:extLst>
          </p:cNvPr>
          <p:cNvGrpSpPr/>
          <p:nvPr/>
        </p:nvGrpSpPr>
        <p:grpSpPr>
          <a:xfrm>
            <a:off x="4980335" y="3121497"/>
            <a:ext cx="465112" cy="391298"/>
            <a:chOff x="5368132" y="2625725"/>
            <a:chExt cx="465138" cy="391319"/>
          </a:xfrm>
          <a:solidFill>
            <a:srgbClr val="6FCEFE"/>
          </a:solidFill>
        </p:grpSpPr>
        <p:sp>
          <p:nvSpPr>
            <p:cNvPr id="43" name="AutoShape 120">
              <a:extLst>
                <a:ext uri="{FF2B5EF4-FFF2-40B4-BE49-F238E27FC236}">
                  <a16:creationId xmlns:a16="http://schemas.microsoft.com/office/drawing/2014/main" id="{342D9397-DB36-41B0-A5B8-973272FFD0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4813" y="2727325"/>
              <a:ext cx="231775" cy="231775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6948" y="16070"/>
                  </a:moveTo>
                  <a:cubicBezTo>
                    <a:pt x="14037" y="19468"/>
                    <a:pt x="8925" y="19859"/>
                    <a:pt x="5529" y="16948"/>
                  </a:cubicBezTo>
                  <a:cubicBezTo>
                    <a:pt x="2130" y="14038"/>
                    <a:pt x="1740" y="8924"/>
                    <a:pt x="4651" y="5527"/>
                  </a:cubicBezTo>
                  <a:cubicBezTo>
                    <a:pt x="7559" y="2131"/>
                    <a:pt x="12674" y="1740"/>
                    <a:pt x="16070" y="4650"/>
                  </a:cubicBezTo>
                  <a:cubicBezTo>
                    <a:pt x="19466" y="7560"/>
                    <a:pt x="19859" y="12673"/>
                    <a:pt x="16948" y="16070"/>
                  </a:cubicBezTo>
                  <a:moveTo>
                    <a:pt x="10800" y="0"/>
                  </a:moveTo>
                  <a:cubicBezTo>
                    <a:pt x="4833" y="0"/>
                    <a:pt x="0" y="4834"/>
                    <a:pt x="0" y="10800"/>
                  </a:cubicBezTo>
                  <a:cubicBezTo>
                    <a:pt x="0" y="16765"/>
                    <a:pt x="4833" y="21599"/>
                    <a:pt x="10800" y="21599"/>
                  </a:cubicBezTo>
                  <a:cubicBezTo>
                    <a:pt x="16764" y="21599"/>
                    <a:pt x="21600" y="16765"/>
                    <a:pt x="21600" y="10800"/>
                  </a:cubicBezTo>
                  <a:cubicBezTo>
                    <a:pt x="21600" y="4834"/>
                    <a:pt x="16764" y="0"/>
                    <a:pt x="10800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20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ea"/>
                <a:sym typeface="+mn-lt"/>
              </a:endParaRPr>
            </a:p>
          </p:txBody>
        </p:sp>
        <p:sp>
          <p:nvSpPr>
            <p:cNvPr id="44" name="AutoShape 121">
              <a:extLst>
                <a:ext uri="{FF2B5EF4-FFF2-40B4-BE49-F238E27FC236}">
                  <a16:creationId xmlns:a16="http://schemas.microsoft.com/office/drawing/2014/main" id="{9289CA15-75A0-4817-846A-3B82B8978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2757" y="2785269"/>
              <a:ext cx="65088" cy="6508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9200" y="0"/>
                  </a:moveTo>
                  <a:cubicBezTo>
                    <a:pt x="8596" y="0"/>
                    <a:pt x="0" y="8596"/>
                    <a:pt x="0" y="19195"/>
                  </a:cubicBezTo>
                  <a:lnTo>
                    <a:pt x="0" y="19199"/>
                  </a:lnTo>
                  <a:cubicBezTo>
                    <a:pt x="0" y="20524"/>
                    <a:pt x="1068" y="21599"/>
                    <a:pt x="2400" y="21599"/>
                  </a:cubicBezTo>
                  <a:cubicBezTo>
                    <a:pt x="3721" y="21599"/>
                    <a:pt x="4800" y="20524"/>
                    <a:pt x="4800" y="19199"/>
                  </a:cubicBezTo>
                  <a:lnTo>
                    <a:pt x="4800" y="19195"/>
                  </a:lnTo>
                  <a:cubicBezTo>
                    <a:pt x="4800" y="11247"/>
                    <a:pt x="11240" y="4799"/>
                    <a:pt x="19200" y="4799"/>
                  </a:cubicBezTo>
                  <a:cubicBezTo>
                    <a:pt x="20521" y="4799"/>
                    <a:pt x="21600" y="3724"/>
                    <a:pt x="21600" y="2399"/>
                  </a:cubicBezTo>
                  <a:cubicBezTo>
                    <a:pt x="21600" y="1075"/>
                    <a:pt x="20521" y="0"/>
                    <a:pt x="19200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20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ea"/>
                <a:sym typeface="+mn-lt"/>
              </a:endParaRPr>
            </a:p>
          </p:txBody>
        </p:sp>
        <p:sp>
          <p:nvSpPr>
            <p:cNvPr id="45" name="AutoShape 122">
              <a:extLst>
                <a:ext uri="{FF2B5EF4-FFF2-40B4-BE49-F238E27FC236}">
                  <a16:creationId xmlns:a16="http://schemas.microsoft.com/office/drawing/2014/main" id="{CD1BDA76-F5A9-499E-A1EF-1C079CE02F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8132" y="2625725"/>
              <a:ext cx="465138" cy="391319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20249" y="19199"/>
                  </a:moveTo>
                  <a:cubicBezTo>
                    <a:pt x="20249" y="19642"/>
                    <a:pt x="19948" y="19999"/>
                    <a:pt x="19575" y="19999"/>
                  </a:cubicBezTo>
                  <a:lnTo>
                    <a:pt x="2024" y="19999"/>
                  </a:lnTo>
                  <a:cubicBezTo>
                    <a:pt x="1651" y="19999"/>
                    <a:pt x="1349" y="19642"/>
                    <a:pt x="1349" y="19199"/>
                  </a:cubicBezTo>
                  <a:lnTo>
                    <a:pt x="1349" y="7200"/>
                  </a:lnTo>
                  <a:cubicBezTo>
                    <a:pt x="1349" y="6809"/>
                    <a:pt x="1588" y="6475"/>
                    <a:pt x="1914" y="6411"/>
                  </a:cubicBezTo>
                  <a:lnTo>
                    <a:pt x="5588" y="5684"/>
                  </a:lnTo>
                  <a:lnTo>
                    <a:pt x="6797" y="2103"/>
                  </a:lnTo>
                  <a:cubicBezTo>
                    <a:pt x="6900" y="1799"/>
                    <a:pt x="7148" y="1600"/>
                    <a:pt x="7424" y="1600"/>
                  </a:cubicBezTo>
                  <a:lnTo>
                    <a:pt x="14174" y="1600"/>
                  </a:lnTo>
                  <a:cubicBezTo>
                    <a:pt x="14450" y="1600"/>
                    <a:pt x="14698" y="1799"/>
                    <a:pt x="14801" y="2103"/>
                  </a:cubicBezTo>
                  <a:lnTo>
                    <a:pt x="16010" y="5684"/>
                  </a:lnTo>
                  <a:lnTo>
                    <a:pt x="19685" y="6411"/>
                  </a:lnTo>
                  <a:cubicBezTo>
                    <a:pt x="20011" y="6475"/>
                    <a:pt x="20249" y="6809"/>
                    <a:pt x="20249" y="7200"/>
                  </a:cubicBezTo>
                  <a:cubicBezTo>
                    <a:pt x="20249" y="7200"/>
                    <a:pt x="20249" y="19199"/>
                    <a:pt x="20249" y="19199"/>
                  </a:cubicBezTo>
                  <a:close/>
                  <a:moveTo>
                    <a:pt x="19907" y="4832"/>
                  </a:moveTo>
                  <a:lnTo>
                    <a:pt x="16981" y="4254"/>
                  </a:lnTo>
                  <a:lnTo>
                    <a:pt x="16054" y="1507"/>
                  </a:lnTo>
                  <a:cubicBezTo>
                    <a:pt x="15745" y="591"/>
                    <a:pt x="15006" y="0"/>
                    <a:pt x="14174" y="0"/>
                  </a:cubicBezTo>
                  <a:lnTo>
                    <a:pt x="7424" y="0"/>
                  </a:lnTo>
                  <a:cubicBezTo>
                    <a:pt x="6593" y="0"/>
                    <a:pt x="5854" y="591"/>
                    <a:pt x="5543" y="1509"/>
                  </a:cubicBezTo>
                  <a:lnTo>
                    <a:pt x="4618" y="4254"/>
                  </a:lnTo>
                  <a:lnTo>
                    <a:pt x="1692" y="4832"/>
                  </a:lnTo>
                  <a:cubicBezTo>
                    <a:pt x="711" y="5025"/>
                    <a:pt x="0" y="6020"/>
                    <a:pt x="0" y="7200"/>
                  </a:cubicBezTo>
                  <a:lnTo>
                    <a:pt x="0" y="19199"/>
                  </a:lnTo>
                  <a:cubicBezTo>
                    <a:pt x="0" y="20523"/>
                    <a:pt x="908" y="21600"/>
                    <a:pt x="2024" y="21600"/>
                  </a:cubicBezTo>
                  <a:lnTo>
                    <a:pt x="19575" y="21600"/>
                  </a:lnTo>
                  <a:cubicBezTo>
                    <a:pt x="20691" y="21600"/>
                    <a:pt x="21600" y="20523"/>
                    <a:pt x="21600" y="19199"/>
                  </a:cubicBezTo>
                  <a:lnTo>
                    <a:pt x="21600" y="7200"/>
                  </a:lnTo>
                  <a:cubicBezTo>
                    <a:pt x="21600" y="6020"/>
                    <a:pt x="20888" y="5025"/>
                    <a:pt x="19907" y="4832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20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ea"/>
                <a:sym typeface="+mn-lt"/>
              </a:endParaRPr>
            </a:p>
          </p:txBody>
        </p:sp>
      </p:grpSp>
      <p:grpSp>
        <p:nvGrpSpPr>
          <p:cNvPr id="46" name="Group 42">
            <a:extLst>
              <a:ext uri="{FF2B5EF4-FFF2-40B4-BE49-F238E27FC236}">
                <a16:creationId xmlns:a16="http://schemas.microsoft.com/office/drawing/2014/main" id="{3D585BB4-0519-45B8-ADCA-9280F7FF098F}"/>
              </a:ext>
            </a:extLst>
          </p:cNvPr>
          <p:cNvGrpSpPr/>
          <p:nvPr/>
        </p:nvGrpSpPr>
        <p:grpSpPr>
          <a:xfrm>
            <a:off x="1774990" y="3127534"/>
            <a:ext cx="464319" cy="362725"/>
            <a:chOff x="2581275" y="1710532"/>
            <a:chExt cx="464344" cy="362744"/>
          </a:xfrm>
          <a:solidFill>
            <a:srgbClr val="D00000"/>
          </a:solidFill>
        </p:grpSpPr>
        <p:sp>
          <p:nvSpPr>
            <p:cNvPr id="47" name="AutoShape 140">
              <a:extLst>
                <a:ext uri="{FF2B5EF4-FFF2-40B4-BE49-F238E27FC236}">
                  <a16:creationId xmlns:a16="http://schemas.microsoft.com/office/drawing/2014/main" id="{0062142B-6BD3-4EA9-9D95-136989D27AA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9219" y="1768475"/>
              <a:ext cx="290513" cy="235744"/>
            </a:xfrm>
            <a:custGeom>
              <a:avLst/>
              <a:gdLst>
                <a:gd name="T0" fmla="+- 0 10800 376"/>
                <a:gd name="T1" fmla="*/ T0 w 20848"/>
                <a:gd name="T2" fmla="*/ 10800 h 21600"/>
                <a:gd name="T3" fmla="+- 0 10800 376"/>
                <a:gd name="T4" fmla="*/ T3 w 20848"/>
                <a:gd name="T5" fmla="*/ 10800 h 21600"/>
                <a:gd name="T6" fmla="+- 0 10800 376"/>
                <a:gd name="T7" fmla="*/ T6 w 20848"/>
                <a:gd name="T8" fmla="*/ 10800 h 21600"/>
                <a:gd name="T9" fmla="+- 0 10800 376"/>
                <a:gd name="T10" fmla="*/ T9 w 20848"/>
                <a:gd name="T11" fmla="*/ 10800 h 21600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</a:cxnLst>
              <a:rect l="0" t="0" r="r" b="b"/>
              <a:pathLst>
                <a:path w="20848" h="21600">
                  <a:moveTo>
                    <a:pt x="18728" y="19178"/>
                  </a:moveTo>
                  <a:cubicBezTo>
                    <a:pt x="13191" y="20631"/>
                    <a:pt x="7654" y="20631"/>
                    <a:pt x="2118" y="19178"/>
                  </a:cubicBezTo>
                  <a:cubicBezTo>
                    <a:pt x="678" y="13592"/>
                    <a:pt x="678" y="8008"/>
                    <a:pt x="2118" y="2421"/>
                  </a:cubicBezTo>
                  <a:cubicBezTo>
                    <a:pt x="7654" y="968"/>
                    <a:pt x="13191" y="968"/>
                    <a:pt x="18728" y="2421"/>
                  </a:cubicBezTo>
                  <a:cubicBezTo>
                    <a:pt x="20168" y="8008"/>
                    <a:pt x="20168" y="13592"/>
                    <a:pt x="18728" y="19178"/>
                  </a:cubicBezTo>
                  <a:moveTo>
                    <a:pt x="18938" y="1116"/>
                  </a:moveTo>
                  <a:cubicBezTo>
                    <a:pt x="16114" y="375"/>
                    <a:pt x="13249" y="0"/>
                    <a:pt x="10423" y="0"/>
                  </a:cubicBezTo>
                  <a:cubicBezTo>
                    <a:pt x="7597" y="0"/>
                    <a:pt x="4732" y="375"/>
                    <a:pt x="1908" y="1116"/>
                  </a:cubicBezTo>
                  <a:cubicBezTo>
                    <a:pt x="1543" y="1213"/>
                    <a:pt x="1244" y="1552"/>
                    <a:pt x="1127" y="2004"/>
                  </a:cubicBezTo>
                  <a:cubicBezTo>
                    <a:pt x="-376" y="7841"/>
                    <a:pt x="-376" y="13759"/>
                    <a:pt x="1127" y="19593"/>
                  </a:cubicBezTo>
                  <a:cubicBezTo>
                    <a:pt x="1244" y="20047"/>
                    <a:pt x="1543" y="20386"/>
                    <a:pt x="1908" y="20482"/>
                  </a:cubicBezTo>
                  <a:cubicBezTo>
                    <a:pt x="4732" y="21224"/>
                    <a:pt x="7597" y="21600"/>
                    <a:pt x="10423" y="21600"/>
                  </a:cubicBezTo>
                  <a:cubicBezTo>
                    <a:pt x="13249" y="21600"/>
                    <a:pt x="16114" y="21224"/>
                    <a:pt x="18938" y="20482"/>
                  </a:cubicBezTo>
                  <a:cubicBezTo>
                    <a:pt x="19303" y="20386"/>
                    <a:pt x="19602" y="20047"/>
                    <a:pt x="19719" y="19593"/>
                  </a:cubicBezTo>
                  <a:cubicBezTo>
                    <a:pt x="21223" y="13759"/>
                    <a:pt x="21223" y="7841"/>
                    <a:pt x="19719" y="2004"/>
                  </a:cubicBezTo>
                  <a:cubicBezTo>
                    <a:pt x="19602" y="1552"/>
                    <a:pt x="19303" y="1213"/>
                    <a:pt x="18938" y="1116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20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ea"/>
                <a:sym typeface="+mn-lt"/>
              </a:endParaRPr>
            </a:p>
          </p:txBody>
        </p:sp>
        <p:sp>
          <p:nvSpPr>
            <p:cNvPr id="48" name="AutoShape 141">
              <a:extLst>
                <a:ext uri="{FF2B5EF4-FFF2-40B4-BE49-F238E27FC236}">
                  <a16:creationId xmlns:a16="http://schemas.microsoft.com/office/drawing/2014/main" id="{21546AE4-07C8-4617-BE24-D65C05BE5E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1275" y="1710532"/>
              <a:ext cx="464344" cy="362744"/>
            </a:xfrm>
            <a:custGeom>
              <a:avLst/>
              <a:gdLst>
                <a:gd name="T0" fmla="+- 0 10800 252"/>
                <a:gd name="T1" fmla="*/ T0 w 21096"/>
                <a:gd name="T2" fmla="*/ 10800 h 21600"/>
                <a:gd name="T3" fmla="+- 0 10800 252"/>
                <a:gd name="T4" fmla="*/ T3 w 21096"/>
                <a:gd name="T5" fmla="*/ 10800 h 21600"/>
                <a:gd name="T6" fmla="+- 0 10800 252"/>
                <a:gd name="T7" fmla="*/ T6 w 21096"/>
                <a:gd name="T8" fmla="*/ 10800 h 21600"/>
                <a:gd name="T9" fmla="+- 0 10800 252"/>
                <a:gd name="T10" fmla="*/ T9 w 21096"/>
                <a:gd name="T11" fmla="*/ 10800 h 21600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</a:cxnLst>
              <a:rect l="0" t="0" r="r" b="b"/>
              <a:pathLst>
                <a:path w="21096" h="21600">
                  <a:moveTo>
                    <a:pt x="19056" y="18331"/>
                  </a:moveTo>
                  <a:cubicBezTo>
                    <a:pt x="13383" y="19233"/>
                    <a:pt x="7711" y="19233"/>
                    <a:pt x="2038" y="18331"/>
                  </a:cubicBezTo>
                  <a:cubicBezTo>
                    <a:pt x="1074" y="13022"/>
                    <a:pt x="1074" y="7713"/>
                    <a:pt x="2038" y="2404"/>
                  </a:cubicBezTo>
                  <a:cubicBezTo>
                    <a:pt x="7711" y="1502"/>
                    <a:pt x="13383" y="1502"/>
                    <a:pt x="19056" y="2404"/>
                  </a:cubicBezTo>
                  <a:cubicBezTo>
                    <a:pt x="20021" y="7713"/>
                    <a:pt x="20021" y="13022"/>
                    <a:pt x="19056" y="18331"/>
                  </a:cubicBezTo>
                  <a:moveTo>
                    <a:pt x="20338" y="2005"/>
                  </a:moveTo>
                  <a:cubicBezTo>
                    <a:pt x="20211" y="1301"/>
                    <a:pt x="19762" y="776"/>
                    <a:pt x="19215" y="689"/>
                  </a:cubicBezTo>
                  <a:cubicBezTo>
                    <a:pt x="16339" y="232"/>
                    <a:pt x="13423" y="0"/>
                    <a:pt x="10547" y="0"/>
                  </a:cubicBezTo>
                  <a:cubicBezTo>
                    <a:pt x="7671" y="0"/>
                    <a:pt x="4755" y="232"/>
                    <a:pt x="1879" y="689"/>
                  </a:cubicBezTo>
                  <a:cubicBezTo>
                    <a:pt x="1332" y="776"/>
                    <a:pt x="883" y="1301"/>
                    <a:pt x="756" y="2005"/>
                  </a:cubicBezTo>
                  <a:cubicBezTo>
                    <a:pt x="-252" y="7553"/>
                    <a:pt x="-252" y="13181"/>
                    <a:pt x="756" y="18731"/>
                  </a:cubicBezTo>
                  <a:cubicBezTo>
                    <a:pt x="883" y="19434"/>
                    <a:pt x="1332" y="19959"/>
                    <a:pt x="1879" y="20046"/>
                  </a:cubicBezTo>
                  <a:cubicBezTo>
                    <a:pt x="3265" y="20266"/>
                    <a:pt x="4660" y="20429"/>
                    <a:pt x="6055" y="20544"/>
                  </a:cubicBezTo>
                  <a:cubicBezTo>
                    <a:pt x="5979" y="20606"/>
                    <a:pt x="5931" y="20670"/>
                    <a:pt x="5931" y="20735"/>
                  </a:cubicBezTo>
                  <a:cubicBezTo>
                    <a:pt x="5931" y="21213"/>
                    <a:pt x="7997" y="21599"/>
                    <a:pt x="10547" y="21599"/>
                  </a:cubicBezTo>
                  <a:cubicBezTo>
                    <a:pt x="13097" y="21599"/>
                    <a:pt x="15164" y="21213"/>
                    <a:pt x="15164" y="20735"/>
                  </a:cubicBezTo>
                  <a:cubicBezTo>
                    <a:pt x="15164" y="20670"/>
                    <a:pt x="15115" y="20606"/>
                    <a:pt x="15040" y="20544"/>
                  </a:cubicBezTo>
                  <a:cubicBezTo>
                    <a:pt x="16434" y="20429"/>
                    <a:pt x="17830" y="20266"/>
                    <a:pt x="19215" y="20046"/>
                  </a:cubicBezTo>
                  <a:cubicBezTo>
                    <a:pt x="19762" y="19959"/>
                    <a:pt x="20211" y="19434"/>
                    <a:pt x="20338" y="18731"/>
                  </a:cubicBezTo>
                  <a:cubicBezTo>
                    <a:pt x="21347" y="13181"/>
                    <a:pt x="21347" y="7553"/>
                    <a:pt x="20338" y="2005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20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ea"/>
                <a:sym typeface="+mn-lt"/>
              </a:endParaRPr>
            </a:p>
          </p:txBody>
        </p:sp>
        <p:sp>
          <p:nvSpPr>
            <p:cNvPr id="49" name="AutoShape 142">
              <a:extLst>
                <a:ext uri="{FF2B5EF4-FFF2-40B4-BE49-F238E27FC236}">
                  <a16:creationId xmlns:a16="http://schemas.microsoft.com/office/drawing/2014/main" id="{6862A26F-48AE-4D5E-8F58-8728FCE77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4019" y="1783557"/>
              <a:ext cx="43656" cy="42863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0800" y="7200"/>
                  </a:moveTo>
                  <a:cubicBezTo>
                    <a:pt x="12779" y="7200"/>
                    <a:pt x="14399" y="8820"/>
                    <a:pt x="14399" y="10800"/>
                  </a:cubicBezTo>
                  <a:cubicBezTo>
                    <a:pt x="14399" y="12779"/>
                    <a:pt x="12779" y="14400"/>
                    <a:pt x="10800" y="14400"/>
                  </a:cubicBezTo>
                  <a:cubicBezTo>
                    <a:pt x="8820" y="14400"/>
                    <a:pt x="7199" y="12779"/>
                    <a:pt x="7199" y="10800"/>
                  </a:cubicBezTo>
                  <a:cubicBezTo>
                    <a:pt x="7199" y="8820"/>
                    <a:pt x="8820" y="7200"/>
                    <a:pt x="10800" y="7200"/>
                  </a:cubicBezTo>
                  <a:moveTo>
                    <a:pt x="10800" y="21599"/>
                  </a:moveTo>
                  <a:cubicBezTo>
                    <a:pt x="16762" y="21599"/>
                    <a:pt x="21600" y="16762"/>
                    <a:pt x="21600" y="10800"/>
                  </a:cubicBezTo>
                  <a:cubicBezTo>
                    <a:pt x="21600" y="4837"/>
                    <a:pt x="16762" y="0"/>
                    <a:pt x="10800" y="0"/>
                  </a:cubicBezTo>
                  <a:cubicBezTo>
                    <a:pt x="4837" y="0"/>
                    <a:pt x="0" y="4837"/>
                    <a:pt x="0" y="10800"/>
                  </a:cubicBezTo>
                  <a:cubicBezTo>
                    <a:pt x="0" y="16762"/>
                    <a:pt x="4837" y="21599"/>
                    <a:pt x="10800" y="21599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20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ea"/>
                <a:sym typeface="+mn-lt"/>
              </a:endParaRPr>
            </a:p>
          </p:txBody>
        </p:sp>
        <p:sp>
          <p:nvSpPr>
            <p:cNvPr id="50" name="AutoShape 143">
              <a:extLst>
                <a:ext uri="{FF2B5EF4-FFF2-40B4-BE49-F238E27FC236}">
                  <a16:creationId xmlns:a16="http://schemas.microsoft.com/office/drawing/2014/main" id="{6B1F820F-4C28-487C-A314-8E06C7943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9732" y="1971675"/>
              <a:ext cx="57944" cy="15082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8899" y="0"/>
                  </a:moveTo>
                  <a:lnTo>
                    <a:pt x="2699" y="0"/>
                  </a:lnTo>
                  <a:cubicBezTo>
                    <a:pt x="1210" y="0"/>
                    <a:pt x="0" y="4841"/>
                    <a:pt x="0" y="10800"/>
                  </a:cubicBezTo>
                  <a:cubicBezTo>
                    <a:pt x="0" y="16758"/>
                    <a:pt x="1210" y="21599"/>
                    <a:pt x="2699" y="21599"/>
                  </a:cubicBezTo>
                  <a:lnTo>
                    <a:pt x="18899" y="21599"/>
                  </a:lnTo>
                  <a:cubicBezTo>
                    <a:pt x="20389" y="21599"/>
                    <a:pt x="21600" y="16758"/>
                    <a:pt x="21600" y="10800"/>
                  </a:cubicBezTo>
                  <a:cubicBezTo>
                    <a:pt x="21600" y="4841"/>
                    <a:pt x="20389" y="0"/>
                    <a:pt x="18899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20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ea"/>
                <a:sym typeface="+mn-lt"/>
              </a:endParaRPr>
            </a:p>
          </p:txBody>
        </p:sp>
        <p:sp>
          <p:nvSpPr>
            <p:cNvPr id="51" name="AutoShape 144">
              <a:extLst>
                <a:ext uri="{FF2B5EF4-FFF2-40B4-BE49-F238E27FC236}">
                  <a16:creationId xmlns:a16="http://schemas.microsoft.com/office/drawing/2014/main" id="{BD8AF61D-103D-4700-AF54-94DDF076DA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4019" y="1928019"/>
              <a:ext cx="58738" cy="15081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8899" y="0"/>
                  </a:moveTo>
                  <a:lnTo>
                    <a:pt x="2699" y="0"/>
                  </a:lnTo>
                  <a:cubicBezTo>
                    <a:pt x="1210" y="0"/>
                    <a:pt x="0" y="4841"/>
                    <a:pt x="0" y="10800"/>
                  </a:cubicBezTo>
                  <a:cubicBezTo>
                    <a:pt x="0" y="16758"/>
                    <a:pt x="1210" y="21599"/>
                    <a:pt x="2699" y="21599"/>
                  </a:cubicBezTo>
                  <a:lnTo>
                    <a:pt x="18899" y="21599"/>
                  </a:lnTo>
                  <a:cubicBezTo>
                    <a:pt x="20389" y="21599"/>
                    <a:pt x="21600" y="16758"/>
                    <a:pt x="21600" y="10800"/>
                  </a:cubicBezTo>
                  <a:cubicBezTo>
                    <a:pt x="21600" y="4841"/>
                    <a:pt x="20389" y="0"/>
                    <a:pt x="18899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20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ea"/>
                <a:sym typeface="+mn-lt"/>
              </a:endParaRPr>
            </a:p>
          </p:txBody>
        </p:sp>
        <p:sp>
          <p:nvSpPr>
            <p:cNvPr id="52" name="AutoShape 145">
              <a:extLst>
                <a:ext uri="{FF2B5EF4-FFF2-40B4-BE49-F238E27FC236}">
                  <a16:creationId xmlns:a16="http://schemas.microsoft.com/office/drawing/2014/main" id="{238D2B53-2D7A-4D29-8D9B-3930B9EA4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4019" y="1885157"/>
              <a:ext cx="58738" cy="1428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8899" y="0"/>
                  </a:moveTo>
                  <a:lnTo>
                    <a:pt x="2699" y="0"/>
                  </a:lnTo>
                  <a:cubicBezTo>
                    <a:pt x="1210" y="0"/>
                    <a:pt x="0" y="4841"/>
                    <a:pt x="0" y="10800"/>
                  </a:cubicBezTo>
                  <a:cubicBezTo>
                    <a:pt x="0" y="16758"/>
                    <a:pt x="1210" y="21599"/>
                    <a:pt x="2699" y="21599"/>
                  </a:cubicBezTo>
                  <a:lnTo>
                    <a:pt x="18899" y="21599"/>
                  </a:lnTo>
                  <a:cubicBezTo>
                    <a:pt x="20389" y="21599"/>
                    <a:pt x="21600" y="16758"/>
                    <a:pt x="21600" y="10800"/>
                  </a:cubicBezTo>
                  <a:cubicBezTo>
                    <a:pt x="21600" y="4841"/>
                    <a:pt x="20389" y="0"/>
                    <a:pt x="18899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20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ea"/>
                <a:sym typeface="+mn-lt"/>
              </a:endParaRPr>
            </a:p>
          </p:txBody>
        </p:sp>
        <p:sp>
          <p:nvSpPr>
            <p:cNvPr id="53" name="AutoShape 146">
              <a:extLst>
                <a:ext uri="{FF2B5EF4-FFF2-40B4-BE49-F238E27FC236}">
                  <a16:creationId xmlns:a16="http://schemas.microsoft.com/office/drawing/2014/main" id="{B4D3FCF1-0665-40E7-80B3-B37B97F93A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7957" y="1826419"/>
              <a:ext cx="86519" cy="61119"/>
            </a:xfrm>
            <a:custGeom>
              <a:avLst/>
              <a:gdLst>
                <a:gd name="T0" fmla="+- 0 10822 44"/>
                <a:gd name="T1" fmla="*/ T0 w 21556"/>
                <a:gd name="T2" fmla="+- 0 10826 53"/>
                <a:gd name="T3" fmla="*/ 10826 h 21547"/>
                <a:gd name="T4" fmla="+- 0 10822 44"/>
                <a:gd name="T5" fmla="*/ T4 w 21556"/>
                <a:gd name="T6" fmla="+- 0 10826 53"/>
                <a:gd name="T7" fmla="*/ 10826 h 21547"/>
                <a:gd name="T8" fmla="+- 0 10822 44"/>
                <a:gd name="T9" fmla="*/ T8 w 21556"/>
                <a:gd name="T10" fmla="+- 0 10826 53"/>
                <a:gd name="T11" fmla="*/ 10826 h 21547"/>
                <a:gd name="T12" fmla="+- 0 10822 44"/>
                <a:gd name="T13" fmla="*/ T12 w 21556"/>
                <a:gd name="T14" fmla="+- 0 10826 53"/>
                <a:gd name="T15" fmla="*/ 10826 h 21547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556" h="21547">
                  <a:moveTo>
                    <a:pt x="19751" y="2"/>
                  </a:moveTo>
                  <a:lnTo>
                    <a:pt x="3200" y="1845"/>
                  </a:lnTo>
                  <a:cubicBezTo>
                    <a:pt x="2215" y="2010"/>
                    <a:pt x="1272" y="3284"/>
                    <a:pt x="1106" y="4676"/>
                  </a:cubicBezTo>
                  <a:lnTo>
                    <a:pt x="1" y="18986"/>
                  </a:lnTo>
                  <a:cubicBezTo>
                    <a:pt x="-44" y="20398"/>
                    <a:pt x="724" y="21547"/>
                    <a:pt x="1712" y="21547"/>
                  </a:cubicBezTo>
                  <a:cubicBezTo>
                    <a:pt x="2698" y="21547"/>
                    <a:pt x="3542" y="20398"/>
                    <a:pt x="3582" y="18978"/>
                  </a:cubicBezTo>
                  <a:lnTo>
                    <a:pt x="4185" y="9251"/>
                  </a:lnTo>
                  <a:cubicBezTo>
                    <a:pt x="4319" y="7849"/>
                    <a:pt x="5235" y="6592"/>
                    <a:pt x="6220" y="6447"/>
                  </a:cubicBezTo>
                  <a:lnTo>
                    <a:pt x="19751" y="5128"/>
                  </a:lnTo>
                  <a:cubicBezTo>
                    <a:pt x="20743" y="5078"/>
                    <a:pt x="21556" y="3884"/>
                    <a:pt x="21556" y="2467"/>
                  </a:cubicBezTo>
                  <a:cubicBezTo>
                    <a:pt x="21556" y="1055"/>
                    <a:pt x="20743" y="-53"/>
                    <a:pt x="19751" y="2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20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ea"/>
                <a:sym typeface="+mn-lt"/>
              </a:endParaRPr>
            </a:p>
          </p:txBody>
        </p:sp>
      </p:grpSp>
      <p:grpSp>
        <p:nvGrpSpPr>
          <p:cNvPr id="54" name="Group 52">
            <a:extLst>
              <a:ext uri="{FF2B5EF4-FFF2-40B4-BE49-F238E27FC236}">
                <a16:creationId xmlns:a16="http://schemas.microsoft.com/office/drawing/2014/main" id="{2AD418A8-DA11-4220-A3E1-0F1B5455EFC8}"/>
              </a:ext>
            </a:extLst>
          </p:cNvPr>
          <p:cNvGrpSpPr/>
          <p:nvPr/>
        </p:nvGrpSpPr>
        <p:grpSpPr>
          <a:xfrm>
            <a:off x="6553757" y="4270941"/>
            <a:ext cx="319071" cy="465112"/>
            <a:chOff x="5441157" y="4440238"/>
            <a:chExt cx="319088" cy="465138"/>
          </a:xfrm>
          <a:solidFill>
            <a:srgbClr val="60A757"/>
          </a:solidFill>
        </p:grpSpPr>
        <p:sp>
          <p:nvSpPr>
            <p:cNvPr id="55" name="AutoShape 97">
              <a:extLst>
                <a:ext uri="{FF2B5EF4-FFF2-40B4-BE49-F238E27FC236}">
                  <a16:creationId xmlns:a16="http://schemas.microsoft.com/office/drawing/2014/main" id="{2C84CF52-DABA-447C-94F3-F87B83B203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1157" y="4440238"/>
              <a:ext cx="319088" cy="46513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9636" y="3374"/>
                  </a:moveTo>
                  <a:lnTo>
                    <a:pt x="1963" y="3375"/>
                  </a:lnTo>
                  <a:lnTo>
                    <a:pt x="1963" y="2025"/>
                  </a:lnTo>
                  <a:cubicBezTo>
                    <a:pt x="1963" y="1653"/>
                    <a:pt x="2402" y="1350"/>
                    <a:pt x="2945" y="1350"/>
                  </a:cubicBezTo>
                  <a:lnTo>
                    <a:pt x="18654" y="1349"/>
                  </a:lnTo>
                  <a:cubicBezTo>
                    <a:pt x="19195" y="1349"/>
                    <a:pt x="19636" y="1652"/>
                    <a:pt x="19636" y="2024"/>
                  </a:cubicBezTo>
                  <a:cubicBezTo>
                    <a:pt x="19636" y="2024"/>
                    <a:pt x="19636" y="3374"/>
                    <a:pt x="19636" y="3374"/>
                  </a:cubicBezTo>
                  <a:close/>
                  <a:moveTo>
                    <a:pt x="19636" y="17546"/>
                  </a:moveTo>
                  <a:lnTo>
                    <a:pt x="1963" y="17547"/>
                  </a:lnTo>
                  <a:lnTo>
                    <a:pt x="1963" y="4050"/>
                  </a:lnTo>
                  <a:lnTo>
                    <a:pt x="19636" y="4049"/>
                  </a:lnTo>
                  <a:cubicBezTo>
                    <a:pt x="19636" y="4049"/>
                    <a:pt x="19636" y="17546"/>
                    <a:pt x="19636" y="17546"/>
                  </a:cubicBezTo>
                  <a:close/>
                  <a:moveTo>
                    <a:pt x="19636" y="19574"/>
                  </a:moveTo>
                  <a:cubicBezTo>
                    <a:pt x="19636" y="19946"/>
                    <a:pt x="19195" y="20249"/>
                    <a:pt x="18654" y="20249"/>
                  </a:cubicBezTo>
                  <a:lnTo>
                    <a:pt x="2945" y="20250"/>
                  </a:lnTo>
                  <a:cubicBezTo>
                    <a:pt x="2402" y="20250"/>
                    <a:pt x="1963" y="19947"/>
                    <a:pt x="1963" y="19575"/>
                  </a:cubicBezTo>
                  <a:lnTo>
                    <a:pt x="1963" y="18222"/>
                  </a:lnTo>
                  <a:lnTo>
                    <a:pt x="19636" y="18221"/>
                  </a:lnTo>
                  <a:cubicBezTo>
                    <a:pt x="19636" y="18221"/>
                    <a:pt x="19636" y="19574"/>
                    <a:pt x="19636" y="19574"/>
                  </a:cubicBezTo>
                  <a:close/>
                  <a:moveTo>
                    <a:pt x="18654" y="0"/>
                  </a:moveTo>
                  <a:lnTo>
                    <a:pt x="2945" y="0"/>
                  </a:lnTo>
                  <a:cubicBezTo>
                    <a:pt x="1317" y="0"/>
                    <a:pt x="0" y="907"/>
                    <a:pt x="0" y="2025"/>
                  </a:cubicBezTo>
                  <a:lnTo>
                    <a:pt x="0" y="19575"/>
                  </a:lnTo>
                  <a:cubicBezTo>
                    <a:pt x="0" y="20693"/>
                    <a:pt x="1317" y="21600"/>
                    <a:pt x="2945" y="21600"/>
                  </a:cubicBezTo>
                  <a:lnTo>
                    <a:pt x="18654" y="21599"/>
                  </a:lnTo>
                  <a:cubicBezTo>
                    <a:pt x="20280" y="21599"/>
                    <a:pt x="21600" y="20693"/>
                    <a:pt x="21600" y="19574"/>
                  </a:cubicBezTo>
                  <a:lnTo>
                    <a:pt x="21600" y="2024"/>
                  </a:lnTo>
                  <a:cubicBezTo>
                    <a:pt x="21600" y="906"/>
                    <a:pt x="20280" y="0"/>
                    <a:pt x="18654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20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ea"/>
                <a:sym typeface="+mn-lt"/>
              </a:endParaRPr>
            </a:p>
          </p:txBody>
        </p:sp>
        <p:sp>
          <p:nvSpPr>
            <p:cNvPr id="56" name="AutoShape 98">
              <a:extLst>
                <a:ext uri="{FF2B5EF4-FFF2-40B4-BE49-F238E27FC236}">
                  <a16:creationId xmlns:a16="http://schemas.microsoft.com/office/drawing/2014/main" id="{C58007C4-C14A-47F9-A435-4BCC947939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1332" y="4483894"/>
              <a:ext cx="58738" cy="1428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21600" y="10800"/>
                  </a:moveTo>
                  <a:cubicBezTo>
                    <a:pt x="21600" y="16758"/>
                    <a:pt x="20387" y="21599"/>
                    <a:pt x="18899" y="21599"/>
                  </a:cubicBezTo>
                  <a:lnTo>
                    <a:pt x="2699" y="21599"/>
                  </a:lnTo>
                  <a:cubicBezTo>
                    <a:pt x="1202" y="21599"/>
                    <a:pt x="0" y="16758"/>
                    <a:pt x="0" y="10800"/>
                  </a:cubicBezTo>
                  <a:cubicBezTo>
                    <a:pt x="0" y="4841"/>
                    <a:pt x="1202" y="0"/>
                    <a:pt x="2699" y="0"/>
                  </a:cubicBezTo>
                  <a:lnTo>
                    <a:pt x="18899" y="0"/>
                  </a:lnTo>
                  <a:cubicBezTo>
                    <a:pt x="20387" y="0"/>
                    <a:pt x="21600" y="4841"/>
                    <a:pt x="21600" y="1080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20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ea"/>
                <a:sym typeface="+mn-lt"/>
              </a:endParaRPr>
            </a:p>
          </p:txBody>
        </p:sp>
        <p:sp>
          <p:nvSpPr>
            <p:cNvPr id="57" name="AutoShape 99">
              <a:extLst>
                <a:ext uri="{FF2B5EF4-FFF2-40B4-BE49-F238E27FC236}">
                  <a16:creationId xmlns:a16="http://schemas.microsoft.com/office/drawing/2014/main" id="{925C71FE-A4C3-44A9-B2D9-077CF80FA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6413" y="4847432"/>
              <a:ext cx="28575" cy="1428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21600" y="10800"/>
                  </a:moveTo>
                  <a:cubicBezTo>
                    <a:pt x="21600" y="16769"/>
                    <a:pt x="19174" y="21599"/>
                    <a:pt x="16199" y="21599"/>
                  </a:cubicBezTo>
                  <a:lnTo>
                    <a:pt x="5399" y="21599"/>
                  </a:lnTo>
                  <a:cubicBezTo>
                    <a:pt x="2404" y="21599"/>
                    <a:pt x="0" y="16769"/>
                    <a:pt x="0" y="10800"/>
                  </a:cubicBezTo>
                  <a:cubicBezTo>
                    <a:pt x="0" y="4830"/>
                    <a:pt x="2404" y="0"/>
                    <a:pt x="5399" y="0"/>
                  </a:cubicBezTo>
                  <a:lnTo>
                    <a:pt x="16199" y="0"/>
                  </a:lnTo>
                  <a:cubicBezTo>
                    <a:pt x="19174" y="0"/>
                    <a:pt x="21600" y="4830"/>
                    <a:pt x="21600" y="1080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20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ea"/>
                <a:sym typeface="+mn-lt"/>
              </a:endParaRPr>
            </a:p>
          </p:txBody>
        </p:sp>
      </p:grpSp>
      <p:sp>
        <p:nvSpPr>
          <p:cNvPr id="58" name="TextBox 23">
            <a:extLst>
              <a:ext uri="{FF2B5EF4-FFF2-40B4-BE49-F238E27FC236}">
                <a16:creationId xmlns:a16="http://schemas.microsoft.com/office/drawing/2014/main" id="{1FED87AA-4866-4EFD-941B-D778A3C4E1D9}"/>
              </a:ext>
            </a:extLst>
          </p:cNvPr>
          <p:cNvSpPr txBox="1"/>
          <p:nvPr/>
        </p:nvSpPr>
        <p:spPr>
          <a:xfrm>
            <a:off x="8950529" y="2319438"/>
            <a:ext cx="228178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05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</a:p>
        </p:txBody>
      </p:sp>
      <p:sp>
        <p:nvSpPr>
          <p:cNvPr id="59" name="TextBox 24">
            <a:extLst>
              <a:ext uri="{FF2B5EF4-FFF2-40B4-BE49-F238E27FC236}">
                <a16:creationId xmlns:a16="http://schemas.microsoft.com/office/drawing/2014/main" id="{BFFB579E-F059-42B9-A756-466842D6FD7F}"/>
              </a:ext>
            </a:extLst>
          </p:cNvPr>
          <p:cNvSpPr txBox="1"/>
          <p:nvPr/>
        </p:nvSpPr>
        <p:spPr>
          <a:xfrm>
            <a:off x="8950530" y="2071688"/>
            <a:ext cx="1154483" cy="3257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517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rPr>
              <a:t>请输入标题</a:t>
            </a:r>
          </a:p>
        </p:txBody>
      </p:sp>
      <p:sp>
        <p:nvSpPr>
          <p:cNvPr id="60" name="TextBox 23">
            <a:extLst>
              <a:ext uri="{FF2B5EF4-FFF2-40B4-BE49-F238E27FC236}">
                <a16:creationId xmlns:a16="http://schemas.microsoft.com/office/drawing/2014/main" id="{D2A239F7-9664-4FE1-AFDB-1AFC9F78721A}"/>
              </a:ext>
            </a:extLst>
          </p:cNvPr>
          <p:cNvSpPr txBox="1"/>
          <p:nvPr/>
        </p:nvSpPr>
        <p:spPr>
          <a:xfrm>
            <a:off x="7479279" y="5022721"/>
            <a:ext cx="228178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05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</a:p>
        </p:txBody>
      </p:sp>
      <p:sp>
        <p:nvSpPr>
          <p:cNvPr id="61" name="TextBox 24">
            <a:extLst>
              <a:ext uri="{FF2B5EF4-FFF2-40B4-BE49-F238E27FC236}">
                <a16:creationId xmlns:a16="http://schemas.microsoft.com/office/drawing/2014/main" id="{04C56EC4-DC57-452D-8BC2-36775C545CAF}"/>
              </a:ext>
            </a:extLst>
          </p:cNvPr>
          <p:cNvSpPr txBox="1"/>
          <p:nvPr/>
        </p:nvSpPr>
        <p:spPr>
          <a:xfrm>
            <a:off x="7479281" y="4774971"/>
            <a:ext cx="1154483" cy="3257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517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rPr>
              <a:t>请输入标题</a:t>
            </a:r>
          </a:p>
        </p:txBody>
      </p:sp>
      <p:sp>
        <p:nvSpPr>
          <p:cNvPr id="62" name="TextBox 23">
            <a:extLst>
              <a:ext uri="{FF2B5EF4-FFF2-40B4-BE49-F238E27FC236}">
                <a16:creationId xmlns:a16="http://schemas.microsoft.com/office/drawing/2014/main" id="{D4BCCF1C-D0C1-4836-B2E2-E5FBD0965476}"/>
              </a:ext>
            </a:extLst>
          </p:cNvPr>
          <p:cNvSpPr txBox="1"/>
          <p:nvPr/>
        </p:nvSpPr>
        <p:spPr>
          <a:xfrm>
            <a:off x="5701519" y="2319438"/>
            <a:ext cx="228178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05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</a:p>
        </p:txBody>
      </p:sp>
      <p:sp>
        <p:nvSpPr>
          <p:cNvPr id="63" name="TextBox 24">
            <a:extLst>
              <a:ext uri="{FF2B5EF4-FFF2-40B4-BE49-F238E27FC236}">
                <a16:creationId xmlns:a16="http://schemas.microsoft.com/office/drawing/2014/main" id="{F1F7B24A-F3FB-4684-B363-99CB1F65BB48}"/>
              </a:ext>
            </a:extLst>
          </p:cNvPr>
          <p:cNvSpPr txBox="1"/>
          <p:nvPr/>
        </p:nvSpPr>
        <p:spPr>
          <a:xfrm>
            <a:off x="5701521" y="2071688"/>
            <a:ext cx="1154483" cy="3257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517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rPr>
              <a:t>请输入标题</a:t>
            </a:r>
          </a:p>
        </p:txBody>
      </p:sp>
      <p:sp>
        <p:nvSpPr>
          <p:cNvPr id="64" name="TextBox 23">
            <a:extLst>
              <a:ext uri="{FF2B5EF4-FFF2-40B4-BE49-F238E27FC236}">
                <a16:creationId xmlns:a16="http://schemas.microsoft.com/office/drawing/2014/main" id="{462D2877-A3D8-4B96-B68E-03FAEBF0735C}"/>
              </a:ext>
            </a:extLst>
          </p:cNvPr>
          <p:cNvSpPr txBox="1"/>
          <p:nvPr/>
        </p:nvSpPr>
        <p:spPr>
          <a:xfrm>
            <a:off x="4414174" y="5022721"/>
            <a:ext cx="228178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05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</a:p>
        </p:txBody>
      </p:sp>
      <p:sp>
        <p:nvSpPr>
          <p:cNvPr id="65" name="TextBox 24">
            <a:extLst>
              <a:ext uri="{FF2B5EF4-FFF2-40B4-BE49-F238E27FC236}">
                <a16:creationId xmlns:a16="http://schemas.microsoft.com/office/drawing/2014/main" id="{08388772-818B-402B-B53B-1E2FE8E5F6C7}"/>
              </a:ext>
            </a:extLst>
          </p:cNvPr>
          <p:cNvSpPr txBox="1"/>
          <p:nvPr/>
        </p:nvSpPr>
        <p:spPr>
          <a:xfrm>
            <a:off x="4414175" y="4774971"/>
            <a:ext cx="1154483" cy="3257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517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rPr>
              <a:t>请输入标题</a:t>
            </a:r>
          </a:p>
        </p:txBody>
      </p:sp>
      <p:sp>
        <p:nvSpPr>
          <p:cNvPr id="66" name="TextBox 23">
            <a:extLst>
              <a:ext uri="{FF2B5EF4-FFF2-40B4-BE49-F238E27FC236}">
                <a16:creationId xmlns:a16="http://schemas.microsoft.com/office/drawing/2014/main" id="{84F7581A-EB01-4AB0-A0EF-1EB81CA62EDB}"/>
              </a:ext>
            </a:extLst>
          </p:cNvPr>
          <p:cNvSpPr txBox="1"/>
          <p:nvPr/>
        </p:nvSpPr>
        <p:spPr>
          <a:xfrm>
            <a:off x="2706473" y="2319438"/>
            <a:ext cx="228178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05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</a:p>
        </p:txBody>
      </p:sp>
      <p:sp>
        <p:nvSpPr>
          <p:cNvPr id="67" name="TextBox 24">
            <a:extLst>
              <a:ext uri="{FF2B5EF4-FFF2-40B4-BE49-F238E27FC236}">
                <a16:creationId xmlns:a16="http://schemas.microsoft.com/office/drawing/2014/main" id="{B10371BB-89A4-4581-A93F-143BFBF71D2E}"/>
              </a:ext>
            </a:extLst>
          </p:cNvPr>
          <p:cNvSpPr txBox="1"/>
          <p:nvPr/>
        </p:nvSpPr>
        <p:spPr>
          <a:xfrm>
            <a:off x="2706474" y="2071688"/>
            <a:ext cx="1154483" cy="3257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517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rPr>
              <a:t>请输入标题</a:t>
            </a:r>
          </a:p>
        </p:txBody>
      </p:sp>
      <p:sp>
        <p:nvSpPr>
          <p:cNvPr id="68" name="TextBox 23">
            <a:extLst>
              <a:ext uri="{FF2B5EF4-FFF2-40B4-BE49-F238E27FC236}">
                <a16:creationId xmlns:a16="http://schemas.microsoft.com/office/drawing/2014/main" id="{5AE5FA1F-7AA3-46DD-944F-58D918441341}"/>
              </a:ext>
            </a:extLst>
          </p:cNvPr>
          <p:cNvSpPr txBox="1"/>
          <p:nvPr/>
        </p:nvSpPr>
        <p:spPr>
          <a:xfrm>
            <a:off x="1279011" y="5022721"/>
            <a:ext cx="228178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05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</a:p>
        </p:txBody>
      </p:sp>
      <p:sp>
        <p:nvSpPr>
          <p:cNvPr id="69" name="TextBox 24">
            <a:extLst>
              <a:ext uri="{FF2B5EF4-FFF2-40B4-BE49-F238E27FC236}">
                <a16:creationId xmlns:a16="http://schemas.microsoft.com/office/drawing/2014/main" id="{2D8AE787-DE5B-40A1-A623-2D883D74DFDB}"/>
              </a:ext>
            </a:extLst>
          </p:cNvPr>
          <p:cNvSpPr txBox="1"/>
          <p:nvPr/>
        </p:nvSpPr>
        <p:spPr>
          <a:xfrm>
            <a:off x="1279013" y="4774971"/>
            <a:ext cx="1154483" cy="3257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517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rPr>
              <a:t>请输入标题</a:t>
            </a:r>
          </a:p>
        </p:txBody>
      </p:sp>
    </p:spTree>
    <p:extLst>
      <p:ext uri="{BB962C8B-B14F-4D97-AF65-F5344CB8AC3E}">
        <p14:creationId xmlns:p14="http://schemas.microsoft.com/office/powerpoint/2010/main" val="3739121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 advClick="0" advTm="0">
        <p14:shred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 tmFilter="0,0; .5, 1; 1, 1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650"/>
                            </p:stCondLst>
                            <p:childTnLst>
                              <p:par>
                                <p:cTn id="21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150"/>
                            </p:stCondLst>
                            <p:childTnLst>
                              <p:par>
                                <p:cTn id="2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650"/>
                            </p:stCondLst>
                            <p:childTnLst>
                              <p:par>
                                <p:cTn id="3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150"/>
                            </p:stCondLst>
                            <p:childTnLst>
                              <p:par>
                                <p:cTn id="41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3650"/>
                            </p:stCondLst>
                            <p:childTnLst>
                              <p:par>
                                <p:cTn id="4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4150"/>
                            </p:stCondLst>
                            <p:childTnLst>
                              <p:par>
                                <p:cTn id="5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55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650"/>
                            </p:stCondLst>
                            <p:childTnLst>
                              <p:par>
                                <p:cTn id="61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5150"/>
                            </p:stCondLst>
                            <p:childTnLst>
                              <p:par>
                                <p:cTn id="6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650"/>
                            </p:stCondLst>
                            <p:childTnLst>
                              <p:par>
                                <p:cTn id="7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75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500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7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6150"/>
                            </p:stCondLst>
                            <p:childTnLst>
                              <p:par>
                                <p:cTn id="81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6650"/>
                            </p:stCondLst>
                            <p:childTnLst>
                              <p:par>
                                <p:cTn id="8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7150"/>
                            </p:stCondLst>
                            <p:childTnLst>
                              <p:par>
                                <p:cTn id="9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4" dur="500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95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8" dur="500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99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7650"/>
                            </p:stCondLst>
                            <p:childTnLst>
                              <p:par>
                                <p:cTn id="101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8150"/>
                            </p:stCondLst>
                            <p:childTnLst>
                              <p:par>
                                <p:cTn id="10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1" fill="hold">
                            <p:stCondLst>
                              <p:cond delay="8650"/>
                            </p:stCondLst>
                            <p:childTnLst>
                              <p:par>
                                <p:cTn id="11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4" dur="500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1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8" dur="500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19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9150"/>
                            </p:stCondLst>
                            <p:childTnLst>
                              <p:par>
                                <p:cTn id="121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5" fill="hold">
                            <p:stCondLst>
                              <p:cond delay="9650"/>
                            </p:stCondLst>
                            <p:childTnLst>
                              <p:par>
                                <p:cTn id="12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1" fill="hold">
                            <p:stCondLst>
                              <p:cond delay="10150"/>
                            </p:stCondLst>
                            <p:childTnLst>
                              <p:par>
                                <p:cTn id="13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4" dur="500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35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8" dur="500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39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41" grpId="0" animBg="1"/>
      <p:bldP spid="58" grpId="0"/>
      <p:bldP spid="59" grpId="0"/>
      <p:bldP spid="60" grpId="0"/>
      <p:bldP spid="61" grpId="0"/>
      <p:bldP spid="62" grpId="0"/>
      <p:bldP spid="63" grpId="0"/>
      <p:bldP spid="64" grpId="0"/>
      <p:bldP spid="65" grpId="0"/>
      <p:bldP spid="66" grpId="0"/>
      <p:bldP spid="67" grpId="0"/>
      <p:bldP spid="68" grpId="0"/>
      <p:bldP spid="6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3643088-BADE-4B2C-8D16-84C355AB00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4294"/>
            <a:ext cx="12202211" cy="6858000"/>
          </a:xfrm>
          <a:prstGeom prst="rect">
            <a:avLst/>
          </a:prstGeom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7218F93-96F9-462F-BAFB-7E145859AED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99171" y="-99171"/>
            <a:ext cx="1058956" cy="1257300"/>
          </a:xfrm>
          <a:prstGeom prst="rect">
            <a:avLst/>
          </a:prstGeom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EC3E81A0-9853-4F50-A63A-07CECD490F96}"/>
              </a:ext>
            </a:extLst>
          </p:cNvPr>
          <p:cNvSpPr txBox="1"/>
          <p:nvPr/>
        </p:nvSpPr>
        <p:spPr>
          <a:xfrm>
            <a:off x="1367227" y="80984"/>
            <a:ext cx="2193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ART TWO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17F88ED-E918-45C7-8ED4-BD8E20C0EB3A}"/>
              </a:ext>
            </a:extLst>
          </p:cNvPr>
          <p:cNvSpPr txBox="1"/>
          <p:nvPr/>
        </p:nvSpPr>
        <p:spPr>
          <a:xfrm>
            <a:off x="3258258" y="120128"/>
            <a:ext cx="2957124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000" spc="600" dirty="0">
                <a:latin typeface="+mn-lt"/>
                <a:ea typeface="+mn-ea"/>
                <a:cs typeface="+mn-ea"/>
                <a:sym typeface="+mn-lt"/>
              </a:rPr>
              <a:t>教学设计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D29EB3EF-A4FF-41C6-9611-4FFA7115F15D}"/>
              </a:ext>
            </a:extLst>
          </p:cNvPr>
          <p:cNvSpPr/>
          <p:nvPr/>
        </p:nvSpPr>
        <p:spPr>
          <a:xfrm>
            <a:off x="6092640" y="2047849"/>
            <a:ext cx="6099360" cy="240993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cs typeface="+mn-ea"/>
              <a:sym typeface="+mn-lt"/>
            </a:endParaRPr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46C32EA2-EC51-4A9F-BADB-09C188F63211}"/>
              </a:ext>
            </a:extLst>
          </p:cNvPr>
          <p:cNvSpPr>
            <a:spLocks/>
          </p:cNvSpPr>
          <p:nvPr/>
        </p:nvSpPr>
        <p:spPr>
          <a:xfrm>
            <a:off x="6096000" y="4457781"/>
            <a:ext cx="3035120" cy="2409932"/>
          </a:xfrm>
          <a:prstGeom prst="rect">
            <a:avLst/>
          </a:pr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33" dirty="0">
              <a:cs typeface="+mn-ea"/>
              <a:sym typeface="+mn-lt"/>
            </a:endParaRP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D25D3565-E1A8-40AC-AC15-FFFF841C6D43}"/>
              </a:ext>
            </a:extLst>
          </p:cNvPr>
          <p:cNvSpPr/>
          <p:nvPr/>
        </p:nvSpPr>
        <p:spPr>
          <a:xfrm>
            <a:off x="9127761" y="4457781"/>
            <a:ext cx="3059775" cy="24099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输入标题</a:t>
            </a:r>
            <a:endParaRPr lang="en-US" sz="32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2" name="Rectangle 7">
            <a:extLst>
              <a:ext uri="{FF2B5EF4-FFF2-40B4-BE49-F238E27FC236}">
                <a16:creationId xmlns:a16="http://schemas.microsoft.com/office/drawing/2014/main" id="{F6CE384B-BD9A-43C7-9378-A8A3C2612AAF}"/>
              </a:ext>
            </a:extLst>
          </p:cNvPr>
          <p:cNvSpPr/>
          <p:nvPr/>
        </p:nvSpPr>
        <p:spPr>
          <a:xfrm>
            <a:off x="0" y="2047849"/>
            <a:ext cx="3035120" cy="24099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输入标题</a:t>
            </a:r>
            <a:endParaRPr lang="en-US" sz="32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3" name="Rectangle 8">
            <a:extLst>
              <a:ext uri="{FF2B5EF4-FFF2-40B4-BE49-F238E27FC236}">
                <a16:creationId xmlns:a16="http://schemas.microsoft.com/office/drawing/2014/main" id="{EE616CC5-EFB8-4305-83DE-215CB5FBBD62}"/>
              </a:ext>
            </a:extLst>
          </p:cNvPr>
          <p:cNvSpPr/>
          <p:nvPr/>
        </p:nvSpPr>
        <p:spPr>
          <a:xfrm>
            <a:off x="3035120" y="2047849"/>
            <a:ext cx="3055280" cy="2409932"/>
          </a:xfrm>
          <a:prstGeom prst="rect">
            <a:avLst/>
          </a:prstGeo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33" dirty="0">
              <a:cs typeface="+mn-ea"/>
              <a:sym typeface="+mn-lt"/>
            </a:endParaRPr>
          </a:p>
        </p:txBody>
      </p:sp>
      <p:sp>
        <p:nvSpPr>
          <p:cNvPr id="14" name="Rectangle 9">
            <a:extLst>
              <a:ext uri="{FF2B5EF4-FFF2-40B4-BE49-F238E27FC236}">
                <a16:creationId xmlns:a16="http://schemas.microsoft.com/office/drawing/2014/main" id="{AB848A2D-7C86-4E38-8294-EADAD62D0C8A}"/>
              </a:ext>
            </a:extLst>
          </p:cNvPr>
          <p:cNvSpPr/>
          <p:nvPr/>
        </p:nvSpPr>
        <p:spPr>
          <a:xfrm>
            <a:off x="0" y="4457781"/>
            <a:ext cx="3035120" cy="2409932"/>
          </a:xfrm>
          <a:prstGeom prst="rect">
            <a:avLst/>
          </a:prstGeom>
          <a:blipFill dpi="0"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33" dirty="0">
              <a:cs typeface="+mn-ea"/>
              <a:sym typeface="+mn-lt"/>
            </a:endParaRPr>
          </a:p>
        </p:txBody>
      </p:sp>
      <p:sp>
        <p:nvSpPr>
          <p:cNvPr id="15" name="Rectangle 10">
            <a:extLst>
              <a:ext uri="{FF2B5EF4-FFF2-40B4-BE49-F238E27FC236}">
                <a16:creationId xmlns:a16="http://schemas.microsoft.com/office/drawing/2014/main" id="{8E1DBA1D-65C9-43A9-863B-47DCA9CDA315}"/>
              </a:ext>
            </a:extLst>
          </p:cNvPr>
          <p:cNvSpPr/>
          <p:nvPr/>
        </p:nvSpPr>
        <p:spPr>
          <a:xfrm>
            <a:off x="3035120" y="4457781"/>
            <a:ext cx="3055280" cy="24099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输入标题</a:t>
            </a:r>
            <a:endParaRPr lang="en-US" sz="32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6" name="TextBox 23">
            <a:extLst>
              <a:ext uri="{FF2B5EF4-FFF2-40B4-BE49-F238E27FC236}">
                <a16:creationId xmlns:a16="http://schemas.microsoft.com/office/drawing/2014/main" id="{C4A796A5-55E5-46EF-9CCF-5DB5DFF9C392}"/>
              </a:ext>
            </a:extLst>
          </p:cNvPr>
          <p:cNvSpPr txBox="1"/>
          <p:nvPr/>
        </p:nvSpPr>
        <p:spPr>
          <a:xfrm>
            <a:off x="6693677" y="2850414"/>
            <a:ext cx="4945875" cy="11182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200" dirty="0">
                <a:solidFill>
                  <a:schemeClr val="bg1"/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请在此处输入具体描述内容，文字尽量言简意赅，说明意思即可，不必过于繁琐，注意版面的美观度。</a:t>
            </a:r>
          </a:p>
          <a:p>
            <a:pPr>
              <a:lnSpc>
                <a:spcPts val="2000"/>
              </a:lnSpc>
            </a:pPr>
            <a:endParaRPr lang="zh-CN" altLang="en-US" sz="12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7" name="TextBox 24">
            <a:extLst>
              <a:ext uri="{FF2B5EF4-FFF2-40B4-BE49-F238E27FC236}">
                <a16:creationId xmlns:a16="http://schemas.microsoft.com/office/drawing/2014/main" id="{B39D634F-C9A2-4FDB-9430-5342AAB96D0B}"/>
              </a:ext>
            </a:extLst>
          </p:cNvPr>
          <p:cNvSpPr txBox="1"/>
          <p:nvPr/>
        </p:nvSpPr>
        <p:spPr>
          <a:xfrm>
            <a:off x="6693677" y="2450302"/>
            <a:ext cx="14670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cs typeface="+mn-ea"/>
                <a:sym typeface="+mn-lt"/>
              </a:rPr>
              <a:t>请输入标题</a:t>
            </a:r>
          </a:p>
        </p:txBody>
      </p:sp>
    </p:spTree>
    <p:extLst>
      <p:ext uri="{BB962C8B-B14F-4D97-AF65-F5344CB8AC3E}">
        <p14:creationId xmlns:p14="http://schemas.microsoft.com/office/powerpoint/2010/main" val="1751171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 advClick="0" advTm="0">
        <p:checker/>
      </p:transition>
    </mc:Choice>
    <mc:Fallback xmlns="">
      <p:transition spd="slow" advClick="0" advTm="0">
        <p:checker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 tmFilter="0,0; .5, 1; 1, 1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650"/>
                            </p:stCondLst>
                            <p:childTnLst>
                              <p:par>
                                <p:cTn id="21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650"/>
                            </p:stCondLst>
                            <p:childTnLst>
                              <p:par>
                                <p:cTn id="25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650"/>
                            </p:stCondLst>
                            <p:childTnLst>
                              <p:par>
                                <p:cTn id="29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650"/>
                            </p:stCondLst>
                            <p:childTnLst>
                              <p:par>
                                <p:cTn id="33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650"/>
                            </p:stCondLst>
                            <p:childTnLst>
                              <p:par>
                                <p:cTn id="37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6650"/>
                            </p:stCondLst>
                            <p:childTnLst>
                              <p:par>
                                <p:cTn id="41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3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7650"/>
                            </p:stCondLst>
                            <p:childTnLst>
                              <p:par>
                                <p:cTn id="45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8650"/>
                            </p:stCondLst>
                            <p:childTnLst>
                              <p:par>
                                <p:cTn id="4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5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5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6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/>
      <p:bldP spid="1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3643088-BADE-4B2C-8D16-84C355AB00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4294"/>
            <a:ext cx="12202211" cy="6858000"/>
          </a:xfrm>
          <a:prstGeom prst="rect">
            <a:avLst/>
          </a:prstGeom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7218F93-96F9-462F-BAFB-7E145859AED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99171" y="-99171"/>
            <a:ext cx="1058956" cy="1257300"/>
          </a:xfrm>
          <a:prstGeom prst="rect">
            <a:avLst/>
          </a:prstGeom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EC3E81A0-9853-4F50-A63A-07CECD490F96}"/>
              </a:ext>
            </a:extLst>
          </p:cNvPr>
          <p:cNvSpPr txBox="1"/>
          <p:nvPr/>
        </p:nvSpPr>
        <p:spPr>
          <a:xfrm>
            <a:off x="1367227" y="80984"/>
            <a:ext cx="2193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ART TWO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17F88ED-E918-45C7-8ED4-BD8E20C0EB3A}"/>
              </a:ext>
            </a:extLst>
          </p:cNvPr>
          <p:cNvSpPr txBox="1"/>
          <p:nvPr/>
        </p:nvSpPr>
        <p:spPr>
          <a:xfrm>
            <a:off x="3258258" y="120128"/>
            <a:ext cx="2957124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000" spc="600" dirty="0">
                <a:latin typeface="+mn-lt"/>
                <a:ea typeface="+mn-ea"/>
                <a:cs typeface="+mn-ea"/>
                <a:sym typeface="+mn-lt"/>
              </a:rPr>
              <a:t>教学设计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1DEE2B-989E-4BF4-876A-8BA444A92CB4}"/>
              </a:ext>
            </a:extLst>
          </p:cNvPr>
          <p:cNvSpPr txBox="1">
            <a:spLocks/>
          </p:cNvSpPr>
          <p:nvPr/>
        </p:nvSpPr>
        <p:spPr>
          <a:xfrm>
            <a:off x="609600" y="4471828"/>
            <a:ext cx="5113429" cy="1753785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rgbClr val="996633"/>
                </a:solidFill>
                <a:latin typeface="+mn-lt"/>
                <a:ea typeface="+mn-ea"/>
                <a:cs typeface="Dancing Scrip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zh-CN" altLang="en-US" sz="18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输入标题</a:t>
            </a:r>
            <a:endParaRPr lang="en-US" sz="18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  <a:p>
            <a:pPr marL="0" indent="0">
              <a:lnSpc>
                <a:spcPts val="2000"/>
              </a:lnSpc>
              <a:buNone/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请在此处输入具体描述内容，文字尽量言简意赅，说明意思即可，不必过于繁琐，注意版面的美观度。</a:t>
            </a:r>
          </a:p>
          <a:p>
            <a:pPr>
              <a:lnSpc>
                <a:spcPts val="2000"/>
              </a:lnSpc>
            </a:pP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A0C53A17-9747-4D67-933A-F51D39E28ED2}"/>
              </a:ext>
            </a:extLst>
          </p:cNvPr>
          <p:cNvSpPr txBox="1">
            <a:spLocks/>
          </p:cNvSpPr>
          <p:nvPr/>
        </p:nvSpPr>
        <p:spPr>
          <a:xfrm>
            <a:off x="6106049" y="4471828"/>
            <a:ext cx="2573984" cy="1722151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rgbClr val="996633"/>
                </a:solidFill>
                <a:latin typeface="+mn-lt"/>
                <a:ea typeface="+mn-ea"/>
                <a:cs typeface="Dancing Scrip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zh-CN" altLang="en-US" sz="18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输入标题</a:t>
            </a:r>
            <a:endParaRPr lang="en-US" altLang="zh-CN" sz="18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  <a:p>
            <a:pPr marL="0" indent="0">
              <a:lnSpc>
                <a:spcPts val="2000"/>
              </a:lnSpc>
              <a:buNone/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endParaRPr lang="en-US" sz="1333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5558BA09-0376-402D-AE75-D0F7ACE8FA66}"/>
              </a:ext>
            </a:extLst>
          </p:cNvPr>
          <p:cNvSpPr txBox="1">
            <a:spLocks/>
          </p:cNvSpPr>
          <p:nvPr/>
        </p:nvSpPr>
        <p:spPr>
          <a:xfrm>
            <a:off x="9149742" y="4471828"/>
            <a:ext cx="2747548" cy="1713191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rgbClr val="996633"/>
                </a:solidFill>
                <a:latin typeface="+mn-lt"/>
                <a:ea typeface="+mn-ea"/>
                <a:cs typeface="Dancing Scrip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zh-CN" altLang="en-US" sz="18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输入标题</a:t>
            </a:r>
            <a:endParaRPr lang="en-US" altLang="zh-CN" sz="18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  <a:p>
            <a:pPr marL="0" indent="0">
              <a:lnSpc>
                <a:spcPts val="2000"/>
              </a:lnSpc>
              <a:buNone/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endParaRPr lang="en-US" sz="1333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36F5C7-D1B1-4365-BA48-7E083EC48E25}"/>
              </a:ext>
            </a:extLst>
          </p:cNvPr>
          <p:cNvSpPr txBox="1">
            <a:spLocks/>
          </p:cNvSpPr>
          <p:nvPr/>
        </p:nvSpPr>
        <p:spPr>
          <a:xfrm>
            <a:off x="6096000" y="1980251"/>
            <a:ext cx="3048000" cy="2329912"/>
          </a:xfrm>
          <a:prstGeom prst="rect">
            <a:avLst/>
          </a:pr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vert="horz" lIns="121920" tIns="60960" rIns="121920" bIns="60960" rtlCol="0">
            <a:normAutofit/>
          </a:bodyPr>
          <a:lstStyle/>
          <a:p>
            <a:pPr algn="ctr">
              <a:spcBef>
                <a:spcPct val="20000"/>
              </a:spcBef>
              <a:defRPr/>
            </a:pPr>
            <a:endParaRPr lang="en-US" sz="3200" dirty="0">
              <a:solidFill>
                <a:srgbClr val="996633"/>
              </a:solidFill>
              <a:cs typeface="+mn-ea"/>
              <a:sym typeface="+mn-lt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B4B002D-17C0-460E-8DB9-0B9ECAD7EBC0}"/>
              </a:ext>
            </a:extLst>
          </p:cNvPr>
          <p:cNvSpPr txBox="1">
            <a:spLocks/>
          </p:cNvSpPr>
          <p:nvPr/>
        </p:nvSpPr>
        <p:spPr>
          <a:xfrm>
            <a:off x="9144000" y="1980251"/>
            <a:ext cx="3048000" cy="2329912"/>
          </a:xfrm>
          <a:prstGeom prst="rect">
            <a:avLst/>
          </a:prstGeo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vert="horz" lIns="121920" tIns="60960" rIns="121920" bIns="60960" rtlCol="0">
            <a:normAutofit/>
          </a:bodyPr>
          <a:lstStyle/>
          <a:p>
            <a:pPr algn="ctr">
              <a:spcBef>
                <a:spcPct val="20000"/>
              </a:spcBef>
              <a:defRPr/>
            </a:pPr>
            <a:endParaRPr lang="en-US" sz="3200" dirty="0">
              <a:solidFill>
                <a:srgbClr val="996633"/>
              </a:solidFill>
              <a:cs typeface="+mn-ea"/>
              <a:sym typeface="+mn-lt"/>
            </a:endParaRPr>
          </a:p>
        </p:txBody>
      </p:sp>
      <p:pic>
        <p:nvPicPr>
          <p:cNvPr id="14" name="内容占位符 4">
            <a:extLst>
              <a:ext uri="{FF2B5EF4-FFF2-40B4-BE49-F238E27FC236}">
                <a16:creationId xmlns:a16="http://schemas.microsoft.com/office/drawing/2014/main" id="{CB2B3076-A803-4E7F-9892-7AC4EF9539F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980251"/>
            <a:ext cx="6106584" cy="2329912"/>
          </a:xfrm>
          <a:prstGeom prst="rect">
            <a:avLst/>
          </a:prstGeo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</p:pic>
    </p:spTree>
    <p:extLst>
      <p:ext uri="{BB962C8B-B14F-4D97-AF65-F5344CB8AC3E}">
        <p14:creationId xmlns:p14="http://schemas.microsoft.com/office/powerpoint/2010/main" val="1373803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Click="0" advTm="0">
        <p14:switch dir="r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 tmFilter="0,0; .5, 1; 1, 1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650"/>
                            </p:stCondLst>
                            <p:childTnLst>
                              <p:par>
                                <p:cTn id="21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150"/>
                            </p:stCondLst>
                            <p:childTnLst>
                              <p:par>
                                <p:cTn id="2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15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150"/>
                            </p:stCondLst>
                            <p:childTnLst>
                              <p:par>
                                <p:cTn id="3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150"/>
                            </p:stCondLst>
                            <p:childTnLst>
                              <p:par>
                                <p:cTn id="3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6150"/>
                            </p:stCondLst>
                            <p:childTnLst>
                              <p:par>
                                <p:cTn id="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6" grpId="0"/>
      <p:bldP spid="10" grpId="0"/>
      <p:bldP spid="11" grpId="0"/>
      <p:bldP spid="12" grpId="0" animBg="1"/>
      <p:bldP spid="1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3643088-BADE-4B2C-8D16-84C355AB00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18008"/>
            <a:ext cx="12202211" cy="6858000"/>
          </a:xfrm>
          <a:prstGeom prst="rect">
            <a:avLst/>
          </a:prstGeom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7218F93-96F9-462F-BAFB-7E145859AED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99171" y="-99171"/>
            <a:ext cx="1058956" cy="1257300"/>
          </a:xfrm>
          <a:prstGeom prst="rect">
            <a:avLst/>
          </a:prstGeom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EC3E81A0-9853-4F50-A63A-07CECD490F96}"/>
              </a:ext>
            </a:extLst>
          </p:cNvPr>
          <p:cNvSpPr txBox="1"/>
          <p:nvPr/>
        </p:nvSpPr>
        <p:spPr>
          <a:xfrm>
            <a:off x="1367227" y="80984"/>
            <a:ext cx="2193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ART TWO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17F88ED-E918-45C7-8ED4-BD8E20C0EB3A}"/>
              </a:ext>
            </a:extLst>
          </p:cNvPr>
          <p:cNvSpPr txBox="1"/>
          <p:nvPr/>
        </p:nvSpPr>
        <p:spPr>
          <a:xfrm>
            <a:off x="3258258" y="120128"/>
            <a:ext cx="2957124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000" spc="600" dirty="0">
                <a:latin typeface="+mn-lt"/>
                <a:ea typeface="+mn-ea"/>
                <a:cs typeface="+mn-ea"/>
                <a:sym typeface="+mn-lt"/>
              </a:rPr>
              <a:t>教学设计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5CD56097-AEBF-4E6C-BCC5-E0F15830669F}"/>
              </a:ext>
            </a:extLst>
          </p:cNvPr>
          <p:cNvGrpSpPr/>
          <p:nvPr/>
        </p:nvGrpSpPr>
        <p:grpSpPr>
          <a:xfrm>
            <a:off x="1596864" y="2197369"/>
            <a:ext cx="3706704" cy="3737376"/>
            <a:chOff x="1596864" y="2197369"/>
            <a:chExt cx="3706704" cy="3737376"/>
          </a:xfrm>
        </p:grpSpPr>
        <p:sp>
          <p:nvSpPr>
            <p:cNvPr id="6" name="Rounded Rectangle 1">
              <a:extLst>
                <a:ext uri="{FF2B5EF4-FFF2-40B4-BE49-F238E27FC236}">
                  <a16:creationId xmlns:a16="http://schemas.microsoft.com/office/drawing/2014/main" id="{205D107F-1059-437A-9CEB-85185F04E3E7}"/>
                </a:ext>
              </a:extLst>
            </p:cNvPr>
            <p:cNvSpPr/>
            <p:nvPr/>
          </p:nvSpPr>
          <p:spPr>
            <a:xfrm>
              <a:off x="1596864" y="2197369"/>
              <a:ext cx="1805156" cy="1805156"/>
            </a:xfrm>
            <a:prstGeom prst="roundRect">
              <a:avLst/>
            </a:prstGeom>
            <a:solidFill>
              <a:srgbClr val="6FCE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>
                <a:cs typeface="+mn-ea"/>
                <a:sym typeface="+mn-lt"/>
              </a:endParaRPr>
            </a:p>
          </p:txBody>
        </p:sp>
        <p:sp>
          <p:nvSpPr>
            <p:cNvPr id="10" name="Rounded Rectangle 219">
              <a:extLst>
                <a:ext uri="{FF2B5EF4-FFF2-40B4-BE49-F238E27FC236}">
                  <a16:creationId xmlns:a16="http://schemas.microsoft.com/office/drawing/2014/main" id="{3CE20CA4-2E6E-4CB2-9205-5AE7977C6D2F}"/>
                </a:ext>
              </a:extLst>
            </p:cNvPr>
            <p:cNvSpPr/>
            <p:nvPr/>
          </p:nvSpPr>
          <p:spPr>
            <a:xfrm>
              <a:off x="3498412" y="2197369"/>
              <a:ext cx="1805156" cy="1805156"/>
            </a:xfrm>
            <a:prstGeom prst="roundRect">
              <a:avLst/>
            </a:prstGeom>
            <a:solidFill>
              <a:srgbClr val="60A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>
                <a:cs typeface="+mn-ea"/>
                <a:sym typeface="+mn-lt"/>
              </a:endParaRPr>
            </a:p>
          </p:txBody>
        </p:sp>
        <p:sp>
          <p:nvSpPr>
            <p:cNvPr id="11" name="Rounded Rectangle 220">
              <a:extLst>
                <a:ext uri="{FF2B5EF4-FFF2-40B4-BE49-F238E27FC236}">
                  <a16:creationId xmlns:a16="http://schemas.microsoft.com/office/drawing/2014/main" id="{826D225C-7747-4C41-AFB0-B08AACCE008D}"/>
                </a:ext>
              </a:extLst>
            </p:cNvPr>
            <p:cNvSpPr/>
            <p:nvPr/>
          </p:nvSpPr>
          <p:spPr>
            <a:xfrm>
              <a:off x="1596864" y="4129589"/>
              <a:ext cx="1805156" cy="1805156"/>
            </a:xfrm>
            <a:prstGeom prst="roundRect">
              <a:avLst/>
            </a:prstGeom>
            <a:solidFill>
              <a:srgbClr val="F57B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>
                <a:cs typeface="+mn-ea"/>
                <a:sym typeface="+mn-lt"/>
              </a:endParaRPr>
            </a:p>
          </p:txBody>
        </p:sp>
        <p:sp>
          <p:nvSpPr>
            <p:cNvPr id="12" name="Rounded Rectangle 221">
              <a:extLst>
                <a:ext uri="{FF2B5EF4-FFF2-40B4-BE49-F238E27FC236}">
                  <a16:creationId xmlns:a16="http://schemas.microsoft.com/office/drawing/2014/main" id="{BC644EFF-14B2-4BBC-B505-0C08D45BD5E2}"/>
                </a:ext>
              </a:extLst>
            </p:cNvPr>
            <p:cNvSpPr/>
            <p:nvPr/>
          </p:nvSpPr>
          <p:spPr>
            <a:xfrm>
              <a:off x="3498412" y="4129589"/>
              <a:ext cx="1805156" cy="1805156"/>
            </a:xfrm>
            <a:prstGeom prst="roundRect">
              <a:avLst/>
            </a:prstGeom>
            <a:solidFill>
              <a:srgbClr val="6FCE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>
                <a:cs typeface="+mn-ea"/>
                <a:sym typeface="+mn-lt"/>
              </a:endParaRPr>
            </a:p>
          </p:txBody>
        </p:sp>
        <p:grpSp>
          <p:nvGrpSpPr>
            <p:cNvPr id="14" name="Group 9">
              <a:extLst>
                <a:ext uri="{FF2B5EF4-FFF2-40B4-BE49-F238E27FC236}">
                  <a16:creationId xmlns:a16="http://schemas.microsoft.com/office/drawing/2014/main" id="{9CB13650-5354-4D70-80B0-C1FD3E3F04E3}"/>
                </a:ext>
              </a:extLst>
            </p:cNvPr>
            <p:cNvGrpSpPr/>
            <p:nvPr/>
          </p:nvGrpSpPr>
          <p:grpSpPr>
            <a:xfrm>
              <a:off x="4201979" y="2646162"/>
              <a:ext cx="398023" cy="453785"/>
              <a:chOff x="910555" y="680759"/>
              <a:chExt cx="328613" cy="374650"/>
            </a:xfrm>
            <a:solidFill>
              <a:schemeClr val="bg1"/>
            </a:solidFill>
          </p:grpSpPr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07287F80-0A05-432F-A5ED-C327FA7E62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0555" y="680759"/>
                <a:ext cx="328613" cy="374650"/>
              </a:xfrm>
              <a:custGeom>
                <a:avLst/>
                <a:gdLst>
                  <a:gd name="T0" fmla="*/ 141 w 207"/>
                  <a:gd name="T1" fmla="*/ 0 h 236"/>
                  <a:gd name="T2" fmla="*/ 0 w 207"/>
                  <a:gd name="T3" fmla="*/ 0 h 236"/>
                  <a:gd name="T4" fmla="*/ 0 w 207"/>
                  <a:gd name="T5" fmla="*/ 236 h 236"/>
                  <a:gd name="T6" fmla="*/ 207 w 207"/>
                  <a:gd name="T7" fmla="*/ 236 h 236"/>
                  <a:gd name="T8" fmla="*/ 207 w 207"/>
                  <a:gd name="T9" fmla="*/ 66 h 236"/>
                  <a:gd name="T10" fmla="*/ 141 w 207"/>
                  <a:gd name="T11" fmla="*/ 0 h 236"/>
                  <a:gd name="T12" fmla="*/ 178 w 207"/>
                  <a:gd name="T13" fmla="*/ 207 h 236"/>
                  <a:gd name="T14" fmla="*/ 29 w 207"/>
                  <a:gd name="T15" fmla="*/ 207 h 236"/>
                  <a:gd name="T16" fmla="*/ 29 w 207"/>
                  <a:gd name="T17" fmla="*/ 29 h 236"/>
                  <a:gd name="T18" fmla="*/ 126 w 207"/>
                  <a:gd name="T19" fmla="*/ 29 h 236"/>
                  <a:gd name="T20" fmla="*/ 178 w 207"/>
                  <a:gd name="T21" fmla="*/ 81 h 236"/>
                  <a:gd name="T22" fmla="*/ 178 w 207"/>
                  <a:gd name="T23" fmla="*/ 207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7" h="236">
                    <a:moveTo>
                      <a:pt x="141" y="0"/>
                    </a:moveTo>
                    <a:lnTo>
                      <a:pt x="0" y="0"/>
                    </a:lnTo>
                    <a:lnTo>
                      <a:pt x="0" y="236"/>
                    </a:lnTo>
                    <a:lnTo>
                      <a:pt x="207" y="236"/>
                    </a:lnTo>
                    <a:lnTo>
                      <a:pt x="207" y="66"/>
                    </a:lnTo>
                    <a:lnTo>
                      <a:pt x="141" y="0"/>
                    </a:lnTo>
                    <a:close/>
                    <a:moveTo>
                      <a:pt x="178" y="207"/>
                    </a:moveTo>
                    <a:lnTo>
                      <a:pt x="29" y="207"/>
                    </a:lnTo>
                    <a:lnTo>
                      <a:pt x="29" y="29"/>
                    </a:lnTo>
                    <a:lnTo>
                      <a:pt x="126" y="29"/>
                    </a:lnTo>
                    <a:lnTo>
                      <a:pt x="178" y="81"/>
                    </a:lnTo>
                    <a:lnTo>
                      <a:pt x="178" y="20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id-ID" dirty="0">
                  <a:cs typeface="+mn-ea"/>
                  <a:sym typeface="+mn-lt"/>
                </a:endParaRPr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CA2EB73A-71A7-4A6F-9B87-9B8B2C249484}"/>
                  </a:ext>
                </a:extLst>
              </p:cNvPr>
              <p:cNvSpPr/>
              <p:nvPr/>
            </p:nvSpPr>
            <p:spPr bwMode="auto">
              <a:xfrm>
                <a:off x="980405" y="850622"/>
                <a:ext cx="188913" cy="123825"/>
              </a:xfrm>
              <a:custGeom>
                <a:avLst/>
                <a:gdLst>
                  <a:gd name="T0" fmla="*/ 45 w 119"/>
                  <a:gd name="T1" fmla="*/ 15 h 78"/>
                  <a:gd name="T2" fmla="*/ 0 w 119"/>
                  <a:gd name="T3" fmla="*/ 59 h 78"/>
                  <a:gd name="T4" fmla="*/ 0 w 119"/>
                  <a:gd name="T5" fmla="*/ 78 h 78"/>
                  <a:gd name="T6" fmla="*/ 45 w 119"/>
                  <a:gd name="T7" fmla="*/ 33 h 78"/>
                  <a:gd name="T8" fmla="*/ 74 w 119"/>
                  <a:gd name="T9" fmla="*/ 63 h 78"/>
                  <a:gd name="T10" fmla="*/ 119 w 119"/>
                  <a:gd name="T11" fmla="*/ 18 h 78"/>
                  <a:gd name="T12" fmla="*/ 119 w 119"/>
                  <a:gd name="T13" fmla="*/ 0 h 78"/>
                  <a:gd name="T14" fmla="*/ 74 w 119"/>
                  <a:gd name="T15" fmla="*/ 44 h 78"/>
                  <a:gd name="T16" fmla="*/ 45 w 119"/>
                  <a:gd name="T17" fmla="*/ 15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9" h="78">
                    <a:moveTo>
                      <a:pt x="45" y="15"/>
                    </a:moveTo>
                    <a:lnTo>
                      <a:pt x="0" y="59"/>
                    </a:lnTo>
                    <a:lnTo>
                      <a:pt x="0" y="78"/>
                    </a:lnTo>
                    <a:lnTo>
                      <a:pt x="45" y="33"/>
                    </a:lnTo>
                    <a:lnTo>
                      <a:pt x="74" y="63"/>
                    </a:lnTo>
                    <a:lnTo>
                      <a:pt x="119" y="18"/>
                    </a:lnTo>
                    <a:lnTo>
                      <a:pt x="119" y="0"/>
                    </a:lnTo>
                    <a:lnTo>
                      <a:pt x="74" y="44"/>
                    </a:lnTo>
                    <a:lnTo>
                      <a:pt x="45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id-ID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17" name="Group 8">
              <a:extLst>
                <a:ext uri="{FF2B5EF4-FFF2-40B4-BE49-F238E27FC236}">
                  <a16:creationId xmlns:a16="http://schemas.microsoft.com/office/drawing/2014/main" id="{EEA2927F-B5B7-462D-BAB4-F100EF8D820D}"/>
                </a:ext>
              </a:extLst>
            </p:cNvPr>
            <p:cNvGrpSpPr/>
            <p:nvPr/>
          </p:nvGrpSpPr>
          <p:grpSpPr>
            <a:xfrm>
              <a:off x="2299469" y="4572074"/>
              <a:ext cx="399946" cy="453785"/>
              <a:chOff x="1663030" y="680759"/>
              <a:chExt cx="330200" cy="374650"/>
            </a:xfrm>
            <a:solidFill>
              <a:schemeClr val="bg1"/>
            </a:solidFill>
          </p:grpSpPr>
          <p:sp>
            <p:nvSpPr>
              <p:cNvPr id="18" name="Freeform 12">
                <a:extLst>
                  <a:ext uri="{FF2B5EF4-FFF2-40B4-BE49-F238E27FC236}">
                    <a16:creationId xmlns:a16="http://schemas.microsoft.com/office/drawing/2014/main" id="{E7C68BF2-6F8F-4239-8DC1-DDF7737B29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63030" y="680759"/>
                <a:ext cx="330200" cy="374650"/>
              </a:xfrm>
              <a:custGeom>
                <a:avLst/>
                <a:gdLst>
                  <a:gd name="T0" fmla="*/ 141 w 208"/>
                  <a:gd name="T1" fmla="*/ 0 h 236"/>
                  <a:gd name="T2" fmla="*/ 0 w 208"/>
                  <a:gd name="T3" fmla="*/ 0 h 236"/>
                  <a:gd name="T4" fmla="*/ 0 w 208"/>
                  <a:gd name="T5" fmla="*/ 236 h 236"/>
                  <a:gd name="T6" fmla="*/ 208 w 208"/>
                  <a:gd name="T7" fmla="*/ 236 h 236"/>
                  <a:gd name="T8" fmla="*/ 208 w 208"/>
                  <a:gd name="T9" fmla="*/ 66 h 236"/>
                  <a:gd name="T10" fmla="*/ 141 w 208"/>
                  <a:gd name="T11" fmla="*/ 0 h 236"/>
                  <a:gd name="T12" fmla="*/ 178 w 208"/>
                  <a:gd name="T13" fmla="*/ 207 h 236"/>
                  <a:gd name="T14" fmla="*/ 30 w 208"/>
                  <a:gd name="T15" fmla="*/ 207 h 236"/>
                  <a:gd name="T16" fmla="*/ 30 w 208"/>
                  <a:gd name="T17" fmla="*/ 29 h 236"/>
                  <a:gd name="T18" fmla="*/ 126 w 208"/>
                  <a:gd name="T19" fmla="*/ 29 h 236"/>
                  <a:gd name="T20" fmla="*/ 178 w 208"/>
                  <a:gd name="T21" fmla="*/ 81 h 236"/>
                  <a:gd name="T22" fmla="*/ 178 w 208"/>
                  <a:gd name="T23" fmla="*/ 207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8" h="236">
                    <a:moveTo>
                      <a:pt x="141" y="0"/>
                    </a:moveTo>
                    <a:lnTo>
                      <a:pt x="0" y="0"/>
                    </a:lnTo>
                    <a:lnTo>
                      <a:pt x="0" y="236"/>
                    </a:lnTo>
                    <a:lnTo>
                      <a:pt x="208" y="236"/>
                    </a:lnTo>
                    <a:lnTo>
                      <a:pt x="208" y="66"/>
                    </a:lnTo>
                    <a:lnTo>
                      <a:pt x="141" y="0"/>
                    </a:lnTo>
                    <a:close/>
                    <a:moveTo>
                      <a:pt x="178" y="207"/>
                    </a:moveTo>
                    <a:lnTo>
                      <a:pt x="30" y="207"/>
                    </a:lnTo>
                    <a:lnTo>
                      <a:pt x="30" y="29"/>
                    </a:lnTo>
                    <a:lnTo>
                      <a:pt x="126" y="29"/>
                    </a:lnTo>
                    <a:lnTo>
                      <a:pt x="178" y="81"/>
                    </a:lnTo>
                    <a:lnTo>
                      <a:pt x="178" y="20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id-ID" dirty="0">
                  <a:cs typeface="+mn-ea"/>
                  <a:sym typeface="+mn-lt"/>
                </a:endParaRPr>
              </a:p>
            </p:txBody>
          </p:sp>
          <p:sp>
            <p:nvSpPr>
              <p:cNvPr id="19" name="Freeform 13">
                <a:extLst>
                  <a:ext uri="{FF2B5EF4-FFF2-40B4-BE49-F238E27FC236}">
                    <a16:creationId xmlns:a16="http://schemas.microsoft.com/office/drawing/2014/main" id="{92CFEA41-8A37-4591-BD5E-01A74D1DEE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34467" y="820459"/>
                <a:ext cx="187325" cy="165100"/>
              </a:xfrm>
              <a:custGeom>
                <a:avLst/>
                <a:gdLst>
                  <a:gd name="T0" fmla="*/ 0 w 118"/>
                  <a:gd name="T1" fmla="*/ 104 h 104"/>
                  <a:gd name="T2" fmla="*/ 118 w 118"/>
                  <a:gd name="T3" fmla="*/ 104 h 104"/>
                  <a:gd name="T4" fmla="*/ 118 w 118"/>
                  <a:gd name="T5" fmla="*/ 0 h 104"/>
                  <a:gd name="T6" fmla="*/ 0 w 118"/>
                  <a:gd name="T7" fmla="*/ 0 h 104"/>
                  <a:gd name="T8" fmla="*/ 0 w 118"/>
                  <a:gd name="T9" fmla="*/ 104 h 104"/>
                  <a:gd name="T10" fmla="*/ 59 w 118"/>
                  <a:gd name="T11" fmla="*/ 15 h 104"/>
                  <a:gd name="T12" fmla="*/ 103 w 118"/>
                  <a:gd name="T13" fmla="*/ 15 h 104"/>
                  <a:gd name="T14" fmla="*/ 103 w 118"/>
                  <a:gd name="T15" fmla="*/ 45 h 104"/>
                  <a:gd name="T16" fmla="*/ 59 w 118"/>
                  <a:gd name="T17" fmla="*/ 45 h 104"/>
                  <a:gd name="T18" fmla="*/ 59 w 118"/>
                  <a:gd name="T19" fmla="*/ 15 h 104"/>
                  <a:gd name="T20" fmla="*/ 59 w 118"/>
                  <a:gd name="T21" fmla="*/ 60 h 104"/>
                  <a:gd name="T22" fmla="*/ 103 w 118"/>
                  <a:gd name="T23" fmla="*/ 60 h 104"/>
                  <a:gd name="T24" fmla="*/ 103 w 118"/>
                  <a:gd name="T25" fmla="*/ 89 h 104"/>
                  <a:gd name="T26" fmla="*/ 59 w 118"/>
                  <a:gd name="T27" fmla="*/ 89 h 104"/>
                  <a:gd name="T28" fmla="*/ 59 w 118"/>
                  <a:gd name="T29" fmla="*/ 60 h 104"/>
                  <a:gd name="T30" fmla="*/ 14 w 118"/>
                  <a:gd name="T31" fmla="*/ 15 h 104"/>
                  <a:gd name="T32" fmla="*/ 44 w 118"/>
                  <a:gd name="T33" fmla="*/ 15 h 104"/>
                  <a:gd name="T34" fmla="*/ 44 w 118"/>
                  <a:gd name="T35" fmla="*/ 45 h 104"/>
                  <a:gd name="T36" fmla="*/ 14 w 118"/>
                  <a:gd name="T37" fmla="*/ 45 h 104"/>
                  <a:gd name="T38" fmla="*/ 14 w 118"/>
                  <a:gd name="T39" fmla="*/ 15 h 104"/>
                  <a:gd name="T40" fmla="*/ 14 w 118"/>
                  <a:gd name="T41" fmla="*/ 60 h 104"/>
                  <a:gd name="T42" fmla="*/ 44 w 118"/>
                  <a:gd name="T43" fmla="*/ 60 h 104"/>
                  <a:gd name="T44" fmla="*/ 44 w 118"/>
                  <a:gd name="T45" fmla="*/ 89 h 104"/>
                  <a:gd name="T46" fmla="*/ 14 w 118"/>
                  <a:gd name="T47" fmla="*/ 89 h 104"/>
                  <a:gd name="T48" fmla="*/ 14 w 118"/>
                  <a:gd name="T49" fmla="*/ 6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8" h="104">
                    <a:moveTo>
                      <a:pt x="0" y="104"/>
                    </a:moveTo>
                    <a:lnTo>
                      <a:pt x="118" y="104"/>
                    </a:lnTo>
                    <a:lnTo>
                      <a:pt x="118" y="0"/>
                    </a:lnTo>
                    <a:lnTo>
                      <a:pt x="0" y="0"/>
                    </a:lnTo>
                    <a:lnTo>
                      <a:pt x="0" y="104"/>
                    </a:lnTo>
                    <a:close/>
                    <a:moveTo>
                      <a:pt x="59" y="15"/>
                    </a:moveTo>
                    <a:lnTo>
                      <a:pt x="103" y="15"/>
                    </a:lnTo>
                    <a:lnTo>
                      <a:pt x="103" y="45"/>
                    </a:lnTo>
                    <a:lnTo>
                      <a:pt x="59" y="45"/>
                    </a:lnTo>
                    <a:lnTo>
                      <a:pt x="59" y="15"/>
                    </a:lnTo>
                    <a:close/>
                    <a:moveTo>
                      <a:pt x="59" y="60"/>
                    </a:moveTo>
                    <a:lnTo>
                      <a:pt x="103" y="60"/>
                    </a:lnTo>
                    <a:lnTo>
                      <a:pt x="103" y="89"/>
                    </a:lnTo>
                    <a:lnTo>
                      <a:pt x="59" y="89"/>
                    </a:lnTo>
                    <a:lnTo>
                      <a:pt x="59" y="60"/>
                    </a:lnTo>
                    <a:close/>
                    <a:moveTo>
                      <a:pt x="14" y="15"/>
                    </a:moveTo>
                    <a:lnTo>
                      <a:pt x="44" y="15"/>
                    </a:lnTo>
                    <a:lnTo>
                      <a:pt x="44" y="45"/>
                    </a:lnTo>
                    <a:lnTo>
                      <a:pt x="14" y="45"/>
                    </a:lnTo>
                    <a:lnTo>
                      <a:pt x="14" y="15"/>
                    </a:lnTo>
                    <a:close/>
                    <a:moveTo>
                      <a:pt x="14" y="60"/>
                    </a:moveTo>
                    <a:lnTo>
                      <a:pt x="44" y="60"/>
                    </a:lnTo>
                    <a:lnTo>
                      <a:pt x="44" y="89"/>
                    </a:lnTo>
                    <a:lnTo>
                      <a:pt x="14" y="89"/>
                    </a:lnTo>
                    <a:lnTo>
                      <a:pt x="1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id-ID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20" name="Group 6">
              <a:extLst>
                <a:ext uri="{FF2B5EF4-FFF2-40B4-BE49-F238E27FC236}">
                  <a16:creationId xmlns:a16="http://schemas.microsoft.com/office/drawing/2014/main" id="{5B8AEB8D-E0F4-4124-A1D5-011836303ECA}"/>
                </a:ext>
              </a:extLst>
            </p:cNvPr>
            <p:cNvGrpSpPr/>
            <p:nvPr/>
          </p:nvGrpSpPr>
          <p:grpSpPr>
            <a:xfrm>
              <a:off x="4201979" y="4572073"/>
              <a:ext cx="398023" cy="453785"/>
              <a:chOff x="2417092" y="680759"/>
              <a:chExt cx="328613" cy="374650"/>
            </a:xfrm>
            <a:solidFill>
              <a:schemeClr val="bg1"/>
            </a:solidFill>
          </p:grpSpPr>
          <p:sp>
            <p:nvSpPr>
              <p:cNvPr id="21" name="Freeform 14">
                <a:extLst>
                  <a:ext uri="{FF2B5EF4-FFF2-40B4-BE49-F238E27FC236}">
                    <a16:creationId xmlns:a16="http://schemas.microsoft.com/office/drawing/2014/main" id="{868CB7FC-9E02-4A35-BC59-35466CD87C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17092" y="680759"/>
                <a:ext cx="328613" cy="374650"/>
              </a:xfrm>
              <a:custGeom>
                <a:avLst/>
                <a:gdLst>
                  <a:gd name="T0" fmla="*/ 140 w 207"/>
                  <a:gd name="T1" fmla="*/ 0 h 236"/>
                  <a:gd name="T2" fmla="*/ 0 w 207"/>
                  <a:gd name="T3" fmla="*/ 0 h 236"/>
                  <a:gd name="T4" fmla="*/ 0 w 207"/>
                  <a:gd name="T5" fmla="*/ 236 h 236"/>
                  <a:gd name="T6" fmla="*/ 207 w 207"/>
                  <a:gd name="T7" fmla="*/ 236 h 236"/>
                  <a:gd name="T8" fmla="*/ 207 w 207"/>
                  <a:gd name="T9" fmla="*/ 66 h 236"/>
                  <a:gd name="T10" fmla="*/ 140 w 207"/>
                  <a:gd name="T11" fmla="*/ 0 h 236"/>
                  <a:gd name="T12" fmla="*/ 177 w 207"/>
                  <a:gd name="T13" fmla="*/ 207 h 236"/>
                  <a:gd name="T14" fmla="*/ 29 w 207"/>
                  <a:gd name="T15" fmla="*/ 207 h 236"/>
                  <a:gd name="T16" fmla="*/ 29 w 207"/>
                  <a:gd name="T17" fmla="*/ 29 h 236"/>
                  <a:gd name="T18" fmla="*/ 126 w 207"/>
                  <a:gd name="T19" fmla="*/ 29 h 236"/>
                  <a:gd name="T20" fmla="*/ 177 w 207"/>
                  <a:gd name="T21" fmla="*/ 81 h 236"/>
                  <a:gd name="T22" fmla="*/ 177 w 207"/>
                  <a:gd name="T23" fmla="*/ 207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7" h="236">
                    <a:moveTo>
                      <a:pt x="140" y="0"/>
                    </a:moveTo>
                    <a:lnTo>
                      <a:pt x="0" y="0"/>
                    </a:lnTo>
                    <a:lnTo>
                      <a:pt x="0" y="236"/>
                    </a:lnTo>
                    <a:lnTo>
                      <a:pt x="207" y="236"/>
                    </a:lnTo>
                    <a:lnTo>
                      <a:pt x="207" y="66"/>
                    </a:lnTo>
                    <a:lnTo>
                      <a:pt x="140" y="0"/>
                    </a:lnTo>
                    <a:close/>
                    <a:moveTo>
                      <a:pt x="177" y="207"/>
                    </a:moveTo>
                    <a:lnTo>
                      <a:pt x="29" y="207"/>
                    </a:lnTo>
                    <a:lnTo>
                      <a:pt x="29" y="29"/>
                    </a:lnTo>
                    <a:lnTo>
                      <a:pt x="126" y="29"/>
                    </a:lnTo>
                    <a:lnTo>
                      <a:pt x="177" y="81"/>
                    </a:lnTo>
                    <a:lnTo>
                      <a:pt x="177" y="20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id-ID" dirty="0">
                  <a:cs typeface="+mn-ea"/>
                  <a:sym typeface="+mn-lt"/>
                </a:endParaRPr>
              </a:p>
            </p:txBody>
          </p:sp>
          <p:sp>
            <p:nvSpPr>
              <p:cNvPr id="22" name="Oval 15">
                <a:extLst>
                  <a:ext uri="{FF2B5EF4-FFF2-40B4-BE49-F238E27FC236}">
                    <a16:creationId xmlns:a16="http://schemas.microsoft.com/office/drawing/2014/main" id="{6AC6BBBA-0081-44C9-9584-9B05D87BCA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86942" y="798234"/>
                <a:ext cx="71438" cy="698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id-ID" dirty="0">
                  <a:cs typeface="+mn-ea"/>
                  <a:sym typeface="+mn-lt"/>
                </a:endParaRPr>
              </a:p>
            </p:txBody>
          </p:sp>
          <p:sp>
            <p:nvSpPr>
              <p:cNvPr id="23" name="Freeform 16">
                <a:extLst>
                  <a:ext uri="{FF2B5EF4-FFF2-40B4-BE49-F238E27FC236}">
                    <a16:creationId xmlns:a16="http://schemas.microsoft.com/office/drawing/2014/main" id="{0CA8E70A-CFB5-4BA6-8315-9DC8197F241B}"/>
                  </a:ext>
                </a:extLst>
              </p:cNvPr>
              <p:cNvSpPr/>
              <p:nvPr/>
            </p:nvSpPr>
            <p:spPr bwMode="auto">
              <a:xfrm>
                <a:off x="2486942" y="820459"/>
                <a:ext cx="188913" cy="165100"/>
              </a:xfrm>
              <a:custGeom>
                <a:avLst/>
                <a:gdLst>
                  <a:gd name="T0" fmla="*/ 30 w 119"/>
                  <a:gd name="T1" fmla="*/ 60 h 104"/>
                  <a:gd name="T2" fmla="*/ 0 w 119"/>
                  <a:gd name="T3" fmla="*/ 104 h 104"/>
                  <a:gd name="T4" fmla="*/ 119 w 119"/>
                  <a:gd name="T5" fmla="*/ 104 h 104"/>
                  <a:gd name="T6" fmla="*/ 89 w 119"/>
                  <a:gd name="T7" fmla="*/ 0 h 104"/>
                  <a:gd name="T8" fmla="*/ 59 w 119"/>
                  <a:gd name="T9" fmla="*/ 89 h 104"/>
                  <a:gd name="T10" fmla="*/ 30 w 119"/>
                  <a:gd name="T11" fmla="*/ 6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9" h="104">
                    <a:moveTo>
                      <a:pt x="30" y="60"/>
                    </a:moveTo>
                    <a:lnTo>
                      <a:pt x="0" y="104"/>
                    </a:lnTo>
                    <a:lnTo>
                      <a:pt x="119" y="104"/>
                    </a:lnTo>
                    <a:lnTo>
                      <a:pt x="89" y="0"/>
                    </a:lnTo>
                    <a:lnTo>
                      <a:pt x="59" y="89"/>
                    </a:lnTo>
                    <a:lnTo>
                      <a:pt x="30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id-ID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24" name="Group 5">
              <a:extLst>
                <a:ext uri="{FF2B5EF4-FFF2-40B4-BE49-F238E27FC236}">
                  <a16:creationId xmlns:a16="http://schemas.microsoft.com/office/drawing/2014/main" id="{11A72C5C-FB49-4888-ADBF-1AF2AE57BA48}"/>
                </a:ext>
              </a:extLst>
            </p:cNvPr>
            <p:cNvGrpSpPr/>
            <p:nvPr/>
          </p:nvGrpSpPr>
          <p:grpSpPr>
            <a:xfrm>
              <a:off x="2299469" y="2646162"/>
              <a:ext cx="399946" cy="453785"/>
              <a:chOff x="3169567" y="680759"/>
              <a:chExt cx="330200" cy="374650"/>
            </a:xfrm>
            <a:solidFill>
              <a:schemeClr val="bg1"/>
            </a:solidFill>
          </p:grpSpPr>
          <p:sp>
            <p:nvSpPr>
              <p:cNvPr id="25" name="Freeform 17">
                <a:extLst>
                  <a:ext uri="{FF2B5EF4-FFF2-40B4-BE49-F238E27FC236}">
                    <a16:creationId xmlns:a16="http://schemas.microsoft.com/office/drawing/2014/main" id="{8D636191-236A-479F-BD2F-072476D0D5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69567" y="680759"/>
                <a:ext cx="330200" cy="374650"/>
              </a:xfrm>
              <a:custGeom>
                <a:avLst/>
                <a:gdLst>
                  <a:gd name="T0" fmla="*/ 141 w 208"/>
                  <a:gd name="T1" fmla="*/ 0 h 236"/>
                  <a:gd name="T2" fmla="*/ 0 w 208"/>
                  <a:gd name="T3" fmla="*/ 0 h 236"/>
                  <a:gd name="T4" fmla="*/ 0 w 208"/>
                  <a:gd name="T5" fmla="*/ 236 h 236"/>
                  <a:gd name="T6" fmla="*/ 208 w 208"/>
                  <a:gd name="T7" fmla="*/ 236 h 236"/>
                  <a:gd name="T8" fmla="*/ 208 w 208"/>
                  <a:gd name="T9" fmla="*/ 66 h 236"/>
                  <a:gd name="T10" fmla="*/ 141 w 208"/>
                  <a:gd name="T11" fmla="*/ 0 h 236"/>
                  <a:gd name="T12" fmla="*/ 178 w 208"/>
                  <a:gd name="T13" fmla="*/ 207 h 236"/>
                  <a:gd name="T14" fmla="*/ 30 w 208"/>
                  <a:gd name="T15" fmla="*/ 207 h 236"/>
                  <a:gd name="T16" fmla="*/ 30 w 208"/>
                  <a:gd name="T17" fmla="*/ 29 h 236"/>
                  <a:gd name="T18" fmla="*/ 126 w 208"/>
                  <a:gd name="T19" fmla="*/ 29 h 236"/>
                  <a:gd name="T20" fmla="*/ 178 w 208"/>
                  <a:gd name="T21" fmla="*/ 81 h 236"/>
                  <a:gd name="T22" fmla="*/ 178 w 208"/>
                  <a:gd name="T23" fmla="*/ 207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8" h="236">
                    <a:moveTo>
                      <a:pt x="141" y="0"/>
                    </a:moveTo>
                    <a:lnTo>
                      <a:pt x="0" y="0"/>
                    </a:lnTo>
                    <a:lnTo>
                      <a:pt x="0" y="236"/>
                    </a:lnTo>
                    <a:lnTo>
                      <a:pt x="208" y="236"/>
                    </a:lnTo>
                    <a:lnTo>
                      <a:pt x="208" y="66"/>
                    </a:lnTo>
                    <a:lnTo>
                      <a:pt x="141" y="0"/>
                    </a:lnTo>
                    <a:close/>
                    <a:moveTo>
                      <a:pt x="178" y="207"/>
                    </a:moveTo>
                    <a:lnTo>
                      <a:pt x="30" y="207"/>
                    </a:lnTo>
                    <a:lnTo>
                      <a:pt x="30" y="29"/>
                    </a:lnTo>
                    <a:lnTo>
                      <a:pt x="126" y="29"/>
                    </a:lnTo>
                    <a:lnTo>
                      <a:pt x="178" y="81"/>
                    </a:lnTo>
                    <a:lnTo>
                      <a:pt x="178" y="20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id-ID" dirty="0">
                  <a:cs typeface="+mn-ea"/>
                  <a:sym typeface="+mn-lt"/>
                </a:endParaRPr>
              </a:p>
            </p:txBody>
          </p:sp>
          <p:sp>
            <p:nvSpPr>
              <p:cNvPr id="26" name="Freeform 18">
                <a:extLst>
                  <a:ext uri="{FF2B5EF4-FFF2-40B4-BE49-F238E27FC236}">
                    <a16:creationId xmlns:a16="http://schemas.microsoft.com/office/drawing/2014/main" id="{12446F78-44EF-4853-B4A7-F93F881CE9FB}"/>
                  </a:ext>
                </a:extLst>
              </p:cNvPr>
              <p:cNvSpPr/>
              <p:nvPr/>
            </p:nvSpPr>
            <p:spPr bwMode="auto">
              <a:xfrm>
                <a:off x="3287042" y="820459"/>
                <a:ext cx="123825" cy="141288"/>
              </a:xfrm>
              <a:custGeom>
                <a:avLst/>
                <a:gdLst>
                  <a:gd name="T0" fmla="*/ 0 w 78"/>
                  <a:gd name="T1" fmla="*/ 89 h 89"/>
                  <a:gd name="T2" fmla="*/ 78 w 78"/>
                  <a:gd name="T3" fmla="*/ 45 h 89"/>
                  <a:gd name="T4" fmla="*/ 0 w 78"/>
                  <a:gd name="T5" fmla="*/ 0 h 89"/>
                  <a:gd name="T6" fmla="*/ 0 w 78"/>
                  <a:gd name="T7" fmla="*/ 89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8" h="89">
                    <a:moveTo>
                      <a:pt x="0" y="89"/>
                    </a:moveTo>
                    <a:lnTo>
                      <a:pt x="78" y="45"/>
                    </a:lnTo>
                    <a:lnTo>
                      <a:pt x="0" y="0"/>
                    </a:lnTo>
                    <a:lnTo>
                      <a:pt x="0" y="8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id-ID" dirty="0">
                  <a:cs typeface="+mn-ea"/>
                  <a:sym typeface="+mn-lt"/>
                </a:endParaRPr>
              </a:p>
            </p:txBody>
          </p:sp>
        </p:grpSp>
        <p:sp>
          <p:nvSpPr>
            <p:cNvPr id="27" name="TextBox 237">
              <a:extLst>
                <a:ext uri="{FF2B5EF4-FFF2-40B4-BE49-F238E27FC236}">
                  <a16:creationId xmlns:a16="http://schemas.microsoft.com/office/drawing/2014/main" id="{DF1F0EA8-8663-498E-B14E-D67B0BFDB345}"/>
                </a:ext>
              </a:extLst>
            </p:cNvPr>
            <p:cNvSpPr txBox="1"/>
            <p:nvPr/>
          </p:nvSpPr>
          <p:spPr>
            <a:xfrm>
              <a:off x="2099331" y="3258799"/>
              <a:ext cx="800219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defPPr>
                <a:defRPr lang="zh-CN"/>
              </a:defPPr>
              <a:lvl1pPr algn="ctr">
                <a:defRPr b="1">
                  <a:solidFill>
                    <a:srgbClr val="51B9D6"/>
                  </a:solidFill>
                  <a:latin typeface="+mn-ea"/>
                </a:defRPr>
              </a:lvl1pPr>
            </a:lstStyle>
            <a:p>
              <a:r>
                <a:rPr lang="zh-CN" altLang="en-US" sz="2400" dirty="0">
                  <a:solidFill>
                    <a:schemeClr val="bg1"/>
                  </a:solidFill>
                  <a:latin typeface="+mn-lt"/>
                  <a:cs typeface="+mn-ea"/>
                  <a:sym typeface="+mn-lt"/>
                </a:rPr>
                <a:t>标题</a:t>
              </a:r>
              <a:endParaRPr lang="id-ID" sz="2400" dirty="0">
                <a:solidFill>
                  <a:schemeClr val="bg1"/>
                </a:solidFill>
                <a:latin typeface="+mn-lt"/>
                <a:cs typeface="+mn-ea"/>
                <a:sym typeface="+mn-lt"/>
              </a:endParaRPr>
            </a:p>
          </p:txBody>
        </p:sp>
        <p:sp>
          <p:nvSpPr>
            <p:cNvPr id="28" name="TextBox 238">
              <a:extLst>
                <a:ext uri="{FF2B5EF4-FFF2-40B4-BE49-F238E27FC236}">
                  <a16:creationId xmlns:a16="http://schemas.microsoft.com/office/drawing/2014/main" id="{AFE8B38B-EDA6-40EA-A1E4-4655D39E263B}"/>
                </a:ext>
              </a:extLst>
            </p:cNvPr>
            <p:cNvSpPr txBox="1"/>
            <p:nvPr/>
          </p:nvSpPr>
          <p:spPr>
            <a:xfrm>
              <a:off x="4000881" y="3258799"/>
              <a:ext cx="800219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defPPr>
                <a:defRPr lang="zh-CN"/>
              </a:defPPr>
              <a:lvl1pPr algn="ctr">
                <a:defRPr b="1">
                  <a:solidFill>
                    <a:srgbClr val="51B9D6"/>
                  </a:solidFill>
                  <a:latin typeface="+mn-ea"/>
                </a:defRPr>
              </a:lvl1pPr>
            </a:lstStyle>
            <a:p>
              <a:r>
                <a:rPr lang="zh-CN" altLang="en-US" sz="2400" dirty="0">
                  <a:solidFill>
                    <a:schemeClr val="bg1"/>
                  </a:solidFill>
                  <a:latin typeface="+mn-lt"/>
                  <a:cs typeface="+mn-ea"/>
                  <a:sym typeface="+mn-lt"/>
                </a:rPr>
                <a:t>标题</a:t>
              </a:r>
              <a:endParaRPr lang="id-ID" altLang="zh-CN" sz="2400" dirty="0">
                <a:solidFill>
                  <a:schemeClr val="bg1"/>
                </a:solidFill>
                <a:latin typeface="+mn-lt"/>
                <a:cs typeface="+mn-ea"/>
                <a:sym typeface="+mn-lt"/>
              </a:endParaRPr>
            </a:p>
          </p:txBody>
        </p:sp>
        <p:sp>
          <p:nvSpPr>
            <p:cNvPr id="29" name="TextBox 239">
              <a:extLst>
                <a:ext uri="{FF2B5EF4-FFF2-40B4-BE49-F238E27FC236}">
                  <a16:creationId xmlns:a16="http://schemas.microsoft.com/office/drawing/2014/main" id="{000A16D0-3E3D-4710-AB7A-155887B40D3C}"/>
                </a:ext>
              </a:extLst>
            </p:cNvPr>
            <p:cNvSpPr txBox="1"/>
            <p:nvPr/>
          </p:nvSpPr>
          <p:spPr>
            <a:xfrm>
              <a:off x="2099333" y="5178290"/>
              <a:ext cx="800219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defPPr>
                <a:defRPr lang="zh-CN"/>
              </a:defPPr>
              <a:lvl1pPr algn="ctr">
                <a:defRPr b="1">
                  <a:solidFill>
                    <a:srgbClr val="51B9D6"/>
                  </a:solidFill>
                  <a:latin typeface="+mn-ea"/>
                </a:defRPr>
              </a:lvl1pPr>
            </a:lstStyle>
            <a:p>
              <a:r>
                <a:rPr lang="zh-CN" altLang="en-US" sz="2400" dirty="0">
                  <a:solidFill>
                    <a:schemeClr val="bg1"/>
                  </a:solidFill>
                  <a:latin typeface="+mn-lt"/>
                  <a:cs typeface="+mn-ea"/>
                  <a:sym typeface="+mn-lt"/>
                </a:rPr>
                <a:t>标题</a:t>
              </a:r>
              <a:endParaRPr lang="id-ID" altLang="zh-CN" sz="2400" dirty="0">
                <a:solidFill>
                  <a:schemeClr val="bg1"/>
                </a:solidFill>
                <a:latin typeface="+mn-lt"/>
                <a:cs typeface="+mn-ea"/>
                <a:sym typeface="+mn-lt"/>
              </a:endParaRPr>
            </a:p>
          </p:txBody>
        </p:sp>
        <p:sp>
          <p:nvSpPr>
            <p:cNvPr id="30" name="TextBox 240">
              <a:extLst>
                <a:ext uri="{FF2B5EF4-FFF2-40B4-BE49-F238E27FC236}">
                  <a16:creationId xmlns:a16="http://schemas.microsoft.com/office/drawing/2014/main" id="{426A358F-729F-4C00-9710-2711FAA914D7}"/>
                </a:ext>
              </a:extLst>
            </p:cNvPr>
            <p:cNvSpPr txBox="1"/>
            <p:nvPr/>
          </p:nvSpPr>
          <p:spPr>
            <a:xfrm>
              <a:off x="4000881" y="5178290"/>
              <a:ext cx="800219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>
              <a:defPPr>
                <a:defRPr lang="zh-CN"/>
              </a:defPPr>
              <a:lvl1pPr algn="ctr">
                <a:defRPr b="1">
                  <a:solidFill>
                    <a:srgbClr val="51B9D6"/>
                  </a:solidFill>
                  <a:latin typeface="+mn-ea"/>
                </a:defRPr>
              </a:lvl1pPr>
            </a:lstStyle>
            <a:p>
              <a:r>
                <a:rPr lang="zh-CN" altLang="en-US" sz="2400" dirty="0">
                  <a:solidFill>
                    <a:schemeClr val="bg1"/>
                  </a:solidFill>
                  <a:latin typeface="+mn-lt"/>
                  <a:cs typeface="+mn-ea"/>
                  <a:sym typeface="+mn-lt"/>
                </a:rPr>
                <a:t>标题</a:t>
              </a:r>
              <a:endParaRPr lang="id-ID" altLang="zh-CN" sz="2400" dirty="0">
                <a:solidFill>
                  <a:schemeClr val="bg1"/>
                </a:solidFill>
                <a:latin typeface="+mn-lt"/>
                <a:cs typeface="+mn-ea"/>
                <a:sym typeface="+mn-lt"/>
              </a:endParaRPr>
            </a:p>
          </p:txBody>
        </p:sp>
      </p:grpSp>
      <p:sp>
        <p:nvSpPr>
          <p:cNvPr id="37" name="TextBox 248">
            <a:extLst>
              <a:ext uri="{FF2B5EF4-FFF2-40B4-BE49-F238E27FC236}">
                <a16:creationId xmlns:a16="http://schemas.microsoft.com/office/drawing/2014/main" id="{F38DF598-EBB4-492D-96F0-6C19D8777283}"/>
              </a:ext>
            </a:extLst>
          </p:cNvPr>
          <p:cNvSpPr txBox="1"/>
          <p:nvPr/>
        </p:nvSpPr>
        <p:spPr>
          <a:xfrm>
            <a:off x="6530948" y="1687523"/>
            <a:ext cx="2648482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defPPr>
              <a:defRPr lang="zh-CN"/>
            </a:defPPr>
            <a:lvl1pPr algn="ctr">
              <a:defRPr b="1">
                <a:solidFill>
                  <a:srgbClr val="51B9D6"/>
                </a:solidFill>
                <a:latin typeface="+mn-ea"/>
              </a:defRPr>
            </a:lvl1pPr>
          </a:lstStyle>
          <a:p>
            <a:pPr algn="l"/>
            <a:r>
              <a:rPr lang="id-ID" sz="9600" dirty="0">
                <a:solidFill>
                  <a:srgbClr val="D00000"/>
                </a:solidFill>
                <a:latin typeface="+mn-lt"/>
                <a:cs typeface="+mn-ea"/>
                <a:sym typeface="+mn-lt"/>
              </a:rPr>
              <a:t>90%</a:t>
            </a:r>
          </a:p>
        </p:txBody>
      </p:sp>
      <p:cxnSp>
        <p:nvCxnSpPr>
          <p:cNvPr id="38" name="Straight Connector 249">
            <a:extLst>
              <a:ext uri="{FF2B5EF4-FFF2-40B4-BE49-F238E27FC236}">
                <a16:creationId xmlns:a16="http://schemas.microsoft.com/office/drawing/2014/main" id="{15A4732A-04C2-40EB-BB43-999F7D9C9909}"/>
              </a:ext>
            </a:extLst>
          </p:cNvPr>
          <p:cNvCxnSpPr/>
          <p:nvPr/>
        </p:nvCxnSpPr>
        <p:spPr>
          <a:xfrm>
            <a:off x="6063439" y="1864367"/>
            <a:ext cx="0" cy="4070378"/>
          </a:xfrm>
          <a:prstGeom prst="line">
            <a:avLst/>
          </a:prstGeom>
          <a:ln w="12700" cap="rnd">
            <a:solidFill>
              <a:schemeClr val="tx1">
                <a:lumMod val="75000"/>
                <a:lumOff val="25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文本框 38">
            <a:extLst>
              <a:ext uri="{FF2B5EF4-FFF2-40B4-BE49-F238E27FC236}">
                <a16:creationId xmlns:a16="http://schemas.microsoft.com/office/drawing/2014/main" id="{4AE4D7D1-246C-4068-AFFE-632DA1D981B5}"/>
              </a:ext>
            </a:extLst>
          </p:cNvPr>
          <p:cNvSpPr txBox="1"/>
          <p:nvPr/>
        </p:nvSpPr>
        <p:spPr>
          <a:xfrm>
            <a:off x="6530949" y="3801076"/>
            <a:ext cx="4653519" cy="11182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请在此处输入具体描述内容，文字尽量言简意赅，说明意思即可，不必过于繁琐，注意版面的美观度。</a:t>
            </a:r>
          </a:p>
        </p:txBody>
      </p:sp>
      <p:sp>
        <p:nvSpPr>
          <p:cNvPr id="40" name="Rectangle 36">
            <a:extLst>
              <a:ext uri="{FF2B5EF4-FFF2-40B4-BE49-F238E27FC236}">
                <a16:creationId xmlns:a16="http://schemas.microsoft.com/office/drawing/2014/main" id="{0E5949B3-B94A-47BA-8712-4B0439216B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0950" y="3401769"/>
            <a:ext cx="198002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输入此处标题</a:t>
            </a:r>
          </a:p>
        </p:txBody>
      </p:sp>
    </p:spTree>
    <p:extLst>
      <p:ext uri="{BB962C8B-B14F-4D97-AF65-F5344CB8AC3E}">
        <p14:creationId xmlns:p14="http://schemas.microsoft.com/office/powerpoint/2010/main" val="2603304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Click="0" advTm="0">
        <p14:flip dir="r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 tmFilter="0,0; .5, 1; 1, 1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650"/>
                            </p:stCondLst>
                            <p:childTnLst>
                              <p:par>
                                <p:cTn id="21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3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650"/>
                            </p:stCondLst>
                            <p:childTnLst>
                              <p:par>
                                <p:cTn id="25" presetID="16" presetClass="entr" presetSubtype="4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27" dur="7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400"/>
                            </p:stCondLst>
                            <p:childTnLst>
                              <p:par>
                                <p:cTn id="2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900"/>
                            </p:stCondLst>
                            <p:childTnLst>
                              <p:par>
                                <p:cTn id="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7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7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37" grpId="0"/>
      <p:bldP spid="39" grpId="0"/>
      <p:bldP spid="4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C6002DE4-0B35-4ACB-96DD-668FCFEE0D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4294"/>
            <a:ext cx="12202211" cy="6858000"/>
          </a:xfrm>
          <a:prstGeom prst="rect">
            <a:avLst/>
          </a:prstGeom>
          <a:ln>
            <a:noFill/>
          </a:ln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0B31D1B4-30DB-4C87-A153-EF6EA5C3DE6E}"/>
              </a:ext>
            </a:extLst>
          </p:cNvPr>
          <p:cNvSpPr/>
          <p:nvPr/>
        </p:nvSpPr>
        <p:spPr>
          <a:xfrm>
            <a:off x="2255573" y="1374674"/>
            <a:ext cx="8352928" cy="4224469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  <a:effectLst>
            <a:outerShdw blurRad="152400" dist="762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cs typeface="+mn-ea"/>
              <a:sym typeface="+mn-lt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0DFD6F58-1456-4565-A7FA-4889094FD26C}"/>
              </a:ext>
            </a:extLst>
          </p:cNvPr>
          <p:cNvSpPr/>
          <p:nvPr/>
        </p:nvSpPr>
        <p:spPr>
          <a:xfrm>
            <a:off x="1679509" y="1374673"/>
            <a:ext cx="7488832" cy="345638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77800" sx="103000" sy="103000" algn="ctr" rotWithShape="0">
              <a:prstClr val="black">
                <a:alpha val="3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DDC0E3D9-958C-4060-B1A9-C07ADD40EEA3}"/>
              </a:ext>
            </a:extLst>
          </p:cNvPr>
          <p:cNvSpPr/>
          <p:nvPr/>
        </p:nvSpPr>
        <p:spPr>
          <a:xfrm>
            <a:off x="7655562" y="605813"/>
            <a:ext cx="2210519" cy="2210518"/>
          </a:xfrm>
          <a:prstGeom prst="rect">
            <a:avLst/>
          </a:prstGeom>
          <a:solidFill>
            <a:srgbClr val="D00000"/>
          </a:solidFill>
          <a:ln>
            <a:noFill/>
          </a:ln>
          <a:effectLst>
            <a:outerShdw blurRad="114300" dist="38100" dir="2700000" sx="101000" sy="101000" algn="tl" rotWithShape="0">
              <a:prstClr val="black">
                <a:alpha val="3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241CF7B9-B014-49C9-96C0-4A630E09C08D}"/>
              </a:ext>
            </a:extLst>
          </p:cNvPr>
          <p:cNvSpPr/>
          <p:nvPr/>
        </p:nvSpPr>
        <p:spPr>
          <a:xfrm>
            <a:off x="1980688" y="3429000"/>
            <a:ext cx="3299221" cy="1384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933" dirty="0">
                <a:solidFill>
                  <a:schemeClr val="bg1"/>
                </a:solidFill>
                <a:cs typeface="+mn-ea"/>
                <a:sym typeface="+mn-lt"/>
              </a:rPr>
              <a:t>OF THIS SCHEME, WE THANK YOU FOR YOUR READING, THE PROPOSAL IS IN WE UNDERSTAND YOUR COMPANY FOR THE RELEVANT REQUIREMENTS, AND PROPOSAL INFORMATION, THIS PAPER DISCUSSES THE SPECIFIC REQUIREMENTS</a:t>
            </a:r>
          </a:p>
        </p:txBody>
      </p:sp>
      <p:sp>
        <p:nvSpPr>
          <p:cNvPr id="18" name="TextBox 18">
            <a:extLst>
              <a:ext uri="{FF2B5EF4-FFF2-40B4-BE49-F238E27FC236}">
                <a16:creationId xmlns:a16="http://schemas.microsoft.com/office/drawing/2014/main" id="{CEE4B56E-805F-42BD-B0BA-A50E9420F11C}"/>
              </a:ext>
            </a:extLst>
          </p:cNvPr>
          <p:cNvSpPr txBox="1"/>
          <p:nvPr/>
        </p:nvSpPr>
        <p:spPr>
          <a:xfrm>
            <a:off x="8093318" y="958302"/>
            <a:ext cx="13399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8000" spc="400">
                <a:solidFill>
                  <a:schemeClr val="bg1"/>
                </a:solidFill>
                <a:latin typeface="Agency FB" panose="020B0503020202020204" pitchFamily="34" charset="0"/>
                <a:cs typeface="+mn-ea"/>
              </a:defRPr>
            </a:lvl1pPr>
          </a:lstStyle>
          <a:p>
            <a:r>
              <a:rPr lang="en-US" altLang="zh-CN" dirty="0">
                <a:sym typeface="+mn-lt"/>
              </a:rPr>
              <a:t>03</a:t>
            </a:r>
            <a:endParaRPr lang="zh-CN" altLang="en-US" dirty="0">
              <a:sym typeface="+mn-lt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23FC91EC-A33E-474B-8946-3468139A7936}"/>
              </a:ext>
            </a:extLst>
          </p:cNvPr>
          <p:cNvSpPr txBox="1"/>
          <p:nvPr/>
        </p:nvSpPr>
        <p:spPr>
          <a:xfrm>
            <a:off x="3397410" y="2198027"/>
            <a:ext cx="3418215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800" spc="600" dirty="0">
                <a:solidFill>
                  <a:srgbClr val="D00000"/>
                </a:solidFill>
                <a:latin typeface="+mn-lt"/>
                <a:ea typeface="+mn-ea"/>
                <a:cs typeface="+mn-ea"/>
                <a:sym typeface="+mn-lt"/>
              </a:rPr>
              <a:t>教学过程</a:t>
            </a: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8E8B6E05-31A9-41F9-80B0-911FDFB1F350}"/>
              </a:ext>
            </a:extLst>
          </p:cNvPr>
          <p:cNvSpPr/>
          <p:nvPr/>
        </p:nvSpPr>
        <p:spPr>
          <a:xfrm>
            <a:off x="2772230" y="3515783"/>
            <a:ext cx="4686031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zh-CN" altLang="en-US" sz="1050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98B2FC46-A089-4BDC-97CB-94226A8A2FE2}"/>
              </a:ext>
            </a:extLst>
          </p:cNvPr>
          <p:cNvSpPr/>
          <p:nvPr/>
        </p:nvSpPr>
        <p:spPr>
          <a:xfrm>
            <a:off x="2657654" y="2796455"/>
            <a:ext cx="4800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TEACHING PROCESS</a:t>
            </a:r>
            <a:endParaRPr lang="zh-CN" altLang="en-US" sz="28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96440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 advClick="0" advTm="0">
        <p14:doors dir="vert"/>
      </p:transition>
    </mc:Choice>
    <mc:Fallback xmlns="">
      <p:transition spd="slow" advClick="0" advTm="0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afterEffect" p14:presetBounceEnd="64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4000">
                                          <p:cBhvr additive="base">
                                            <p:cTn id="7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4000">
                                          <p:cBhvr additive="base">
                                            <p:cTn id="8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4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2000">
                                          <p:cBhvr additive="base">
                                            <p:cTn id="11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2000">
                                          <p:cBhvr additive="base">
                                            <p:cTn id="12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15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16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1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22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4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5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6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28" presetID="4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0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1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4" dur="500" tmFilter="0,0; .5, 1; 1, 1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5" fill="hold">
                                <p:stCondLst>
                                  <p:cond delay="4150"/>
                                </p:stCondLst>
                                <p:childTnLst>
                                  <p:par>
                                    <p:cTn id="36" presetID="16" presetClass="entr" presetSubtype="37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38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4650"/>
                                </p:stCondLst>
                                <p:childTnLst>
                                  <p:par>
                                    <p:cTn id="40" presetID="37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10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43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4" dur="900" decel="100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5" dur="100" accel="100000" fill="hold">
                                              <p:stCondLst>
                                                <p:cond delay="90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 animBg="1"/>
          <p:bldP spid="7" grpId="0" animBg="1"/>
          <p:bldP spid="13" grpId="0"/>
          <p:bldP spid="18" grpId="0"/>
          <p:bldP spid="19" grpId="0"/>
          <p:bldP spid="21" grpId="0"/>
          <p:bldP spid="23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1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22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4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5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6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28" presetID="4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0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1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4" dur="500" tmFilter="0,0; .5, 1; 1, 1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5" fill="hold">
                                <p:stCondLst>
                                  <p:cond delay="4150"/>
                                </p:stCondLst>
                                <p:childTnLst>
                                  <p:par>
                                    <p:cTn id="36" presetID="16" presetClass="entr" presetSubtype="37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38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4650"/>
                                </p:stCondLst>
                                <p:childTnLst>
                                  <p:par>
                                    <p:cTn id="40" presetID="37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10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43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4" dur="900" decel="100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5" dur="100" accel="100000" fill="hold">
                                              <p:stCondLst>
                                                <p:cond delay="90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 animBg="1"/>
          <p:bldP spid="7" grpId="0" animBg="1"/>
          <p:bldP spid="13" grpId="0"/>
          <p:bldP spid="18" grpId="0"/>
          <p:bldP spid="19" grpId="0"/>
          <p:bldP spid="21" grpId="0"/>
          <p:bldP spid="23" grpId="0"/>
        </p:bldLst>
      </p:timing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3643088-BADE-4B2C-8D16-84C355AB00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4294"/>
            <a:ext cx="12202211" cy="6858000"/>
          </a:xfrm>
          <a:prstGeom prst="rect">
            <a:avLst/>
          </a:prstGeom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7218F93-96F9-462F-BAFB-7E145859AED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99171" y="-99171"/>
            <a:ext cx="1058956" cy="1257300"/>
          </a:xfrm>
          <a:prstGeom prst="rect">
            <a:avLst/>
          </a:prstGeom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EC3E81A0-9853-4F50-A63A-07CECD490F96}"/>
              </a:ext>
            </a:extLst>
          </p:cNvPr>
          <p:cNvSpPr txBox="1"/>
          <p:nvPr/>
        </p:nvSpPr>
        <p:spPr>
          <a:xfrm>
            <a:off x="1367227" y="80984"/>
            <a:ext cx="27918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ART THREE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17F88ED-E918-45C7-8ED4-BD8E20C0EB3A}"/>
              </a:ext>
            </a:extLst>
          </p:cNvPr>
          <p:cNvSpPr txBox="1"/>
          <p:nvPr/>
        </p:nvSpPr>
        <p:spPr>
          <a:xfrm>
            <a:off x="3818698" y="90631"/>
            <a:ext cx="2957124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000" spc="600" dirty="0">
                <a:latin typeface="+mn-lt"/>
                <a:ea typeface="+mn-ea"/>
                <a:cs typeface="+mn-ea"/>
                <a:sym typeface="+mn-lt"/>
              </a:rPr>
              <a:t>教学设计</a:t>
            </a:r>
          </a:p>
        </p:txBody>
      </p:sp>
      <p:sp>
        <p:nvSpPr>
          <p:cNvPr id="31" name="TextBox 6">
            <a:extLst>
              <a:ext uri="{FF2B5EF4-FFF2-40B4-BE49-F238E27FC236}">
                <a16:creationId xmlns:a16="http://schemas.microsoft.com/office/drawing/2014/main" id="{42D17D8E-8B75-428D-85CC-C30E38A75956}"/>
              </a:ext>
            </a:extLst>
          </p:cNvPr>
          <p:cNvSpPr txBox="1"/>
          <p:nvPr/>
        </p:nvSpPr>
        <p:spPr>
          <a:xfrm>
            <a:off x="1914064" y="1876157"/>
            <a:ext cx="16055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输入标题</a:t>
            </a: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F585D07E-EF75-4A29-838B-27834934810E}"/>
              </a:ext>
            </a:extLst>
          </p:cNvPr>
          <p:cNvSpPr txBox="1">
            <a:spLocks/>
          </p:cNvSpPr>
          <p:nvPr/>
        </p:nvSpPr>
        <p:spPr>
          <a:xfrm>
            <a:off x="1914065" y="2214711"/>
            <a:ext cx="3636945" cy="2036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000"/>
              </a:lnSpc>
              <a:buNone/>
            </a:pPr>
            <a:r>
              <a:rPr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3" name="Shape 2525">
            <a:extLst>
              <a:ext uri="{FF2B5EF4-FFF2-40B4-BE49-F238E27FC236}">
                <a16:creationId xmlns:a16="http://schemas.microsoft.com/office/drawing/2014/main" id="{3A29962F-CFA6-406D-8D42-ED5A47672141}"/>
              </a:ext>
            </a:extLst>
          </p:cNvPr>
          <p:cNvSpPr/>
          <p:nvPr/>
        </p:nvSpPr>
        <p:spPr>
          <a:xfrm>
            <a:off x="1194898" y="2055260"/>
            <a:ext cx="558655" cy="5586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562" y="17673"/>
                  <a:pt x="11782" y="17453"/>
                  <a:pt x="11782" y="17182"/>
                </a:cubicBezTo>
                <a:cubicBezTo>
                  <a:pt x="11782" y="16911"/>
                  <a:pt x="11562" y="16691"/>
                  <a:pt x="11291" y="16691"/>
                </a:cubicBezTo>
                <a:cubicBezTo>
                  <a:pt x="11020" y="16691"/>
                  <a:pt x="10800" y="16911"/>
                  <a:pt x="10800" y="17182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17673" y="18655"/>
                </a:moveTo>
                <a:lnTo>
                  <a:pt x="13745" y="18655"/>
                </a:lnTo>
                <a:lnTo>
                  <a:pt x="13745" y="12273"/>
                </a:lnTo>
                <a:cubicBezTo>
                  <a:pt x="13745" y="12002"/>
                  <a:pt x="13525" y="11782"/>
                  <a:pt x="13255" y="11782"/>
                </a:cubicBezTo>
                <a:lnTo>
                  <a:pt x="8345" y="11782"/>
                </a:lnTo>
                <a:cubicBezTo>
                  <a:pt x="8075" y="11782"/>
                  <a:pt x="7855" y="12002"/>
                  <a:pt x="7855" y="12273"/>
                </a:cubicBezTo>
                <a:lnTo>
                  <a:pt x="7855" y="18655"/>
                </a:lnTo>
                <a:lnTo>
                  <a:pt x="3927" y="18655"/>
                </a:lnTo>
                <a:lnTo>
                  <a:pt x="3927" y="8058"/>
                </a:lnTo>
                <a:lnTo>
                  <a:pt x="10800" y="1185"/>
                </a:lnTo>
                <a:lnTo>
                  <a:pt x="17673" y="8058"/>
                </a:lnTo>
                <a:cubicBezTo>
                  <a:pt x="17673" y="8058"/>
                  <a:pt x="17673" y="18655"/>
                  <a:pt x="17673" y="18655"/>
                </a:cubicBezTo>
                <a:close/>
                <a:moveTo>
                  <a:pt x="17673" y="20618"/>
                </a:moveTo>
                <a:lnTo>
                  <a:pt x="13745" y="20618"/>
                </a:lnTo>
                <a:lnTo>
                  <a:pt x="13745" y="19636"/>
                </a:lnTo>
                <a:lnTo>
                  <a:pt x="17673" y="19636"/>
                </a:lnTo>
                <a:cubicBezTo>
                  <a:pt x="17673" y="19636"/>
                  <a:pt x="17673" y="20618"/>
                  <a:pt x="17673" y="20618"/>
                </a:cubicBezTo>
                <a:close/>
                <a:moveTo>
                  <a:pt x="12764" y="20618"/>
                </a:moveTo>
                <a:lnTo>
                  <a:pt x="8836" y="20618"/>
                </a:lnTo>
                <a:lnTo>
                  <a:pt x="8836" y="12764"/>
                </a:lnTo>
                <a:lnTo>
                  <a:pt x="12764" y="12764"/>
                </a:lnTo>
                <a:cubicBezTo>
                  <a:pt x="12764" y="12764"/>
                  <a:pt x="12764" y="20618"/>
                  <a:pt x="12764" y="20618"/>
                </a:cubicBezTo>
                <a:close/>
                <a:moveTo>
                  <a:pt x="7855" y="20618"/>
                </a:moveTo>
                <a:lnTo>
                  <a:pt x="3927" y="20618"/>
                </a:lnTo>
                <a:lnTo>
                  <a:pt x="3927" y="19636"/>
                </a:lnTo>
                <a:lnTo>
                  <a:pt x="7855" y="19636"/>
                </a:lnTo>
                <a:cubicBezTo>
                  <a:pt x="7855" y="19636"/>
                  <a:pt x="7855" y="20618"/>
                  <a:pt x="7855" y="20618"/>
                </a:cubicBezTo>
                <a:close/>
                <a:moveTo>
                  <a:pt x="14727" y="1964"/>
                </a:moveTo>
                <a:lnTo>
                  <a:pt x="16691" y="1964"/>
                </a:lnTo>
                <a:lnTo>
                  <a:pt x="16691" y="5688"/>
                </a:lnTo>
                <a:lnTo>
                  <a:pt x="14727" y="3724"/>
                </a:lnTo>
                <a:cubicBezTo>
                  <a:pt x="14727" y="3724"/>
                  <a:pt x="14727" y="1964"/>
                  <a:pt x="14727" y="1964"/>
                </a:cubicBezTo>
                <a:close/>
                <a:moveTo>
                  <a:pt x="21456" y="10453"/>
                </a:moveTo>
                <a:lnTo>
                  <a:pt x="17673" y="6670"/>
                </a:lnTo>
                <a:lnTo>
                  <a:pt x="17673" y="1473"/>
                </a:lnTo>
                <a:cubicBezTo>
                  <a:pt x="17673" y="1202"/>
                  <a:pt x="17453" y="982"/>
                  <a:pt x="17182" y="982"/>
                </a:cubicBezTo>
                <a:lnTo>
                  <a:pt x="14236" y="982"/>
                </a:lnTo>
                <a:cubicBezTo>
                  <a:pt x="13966" y="982"/>
                  <a:pt x="13745" y="1202"/>
                  <a:pt x="13745" y="1473"/>
                </a:cubicBezTo>
                <a:lnTo>
                  <a:pt x="13745" y="2742"/>
                </a:ln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144" y="10453"/>
                </a:lnTo>
                <a:cubicBezTo>
                  <a:pt x="55" y="10542"/>
                  <a:pt x="0" y="10665"/>
                  <a:pt x="0" y="10800"/>
                </a:cubicBezTo>
                <a:cubicBezTo>
                  <a:pt x="0" y="11072"/>
                  <a:pt x="220" y="11291"/>
                  <a:pt x="491" y="11291"/>
                </a:cubicBezTo>
                <a:cubicBezTo>
                  <a:pt x="626" y="11291"/>
                  <a:pt x="749" y="11236"/>
                  <a:pt x="838" y="11147"/>
                </a:cubicBezTo>
                <a:lnTo>
                  <a:pt x="2945" y="9040"/>
                </a:lnTo>
                <a:lnTo>
                  <a:pt x="2945" y="21109"/>
                </a:lnTo>
                <a:cubicBezTo>
                  <a:pt x="2945" y="21381"/>
                  <a:pt x="3166" y="21600"/>
                  <a:pt x="3436" y="21600"/>
                </a:cubicBezTo>
                <a:lnTo>
                  <a:pt x="18164" y="21600"/>
                </a:lnTo>
                <a:cubicBezTo>
                  <a:pt x="18434" y="21600"/>
                  <a:pt x="18655" y="21381"/>
                  <a:pt x="18655" y="21109"/>
                </a:cubicBezTo>
                <a:lnTo>
                  <a:pt x="18655" y="9040"/>
                </a:lnTo>
                <a:lnTo>
                  <a:pt x="20762" y="11147"/>
                </a:lnTo>
                <a:cubicBezTo>
                  <a:pt x="20851" y="11236"/>
                  <a:pt x="20974" y="11291"/>
                  <a:pt x="21109" y="11291"/>
                </a:cubicBezTo>
                <a:cubicBezTo>
                  <a:pt x="21380" y="11291"/>
                  <a:pt x="21600" y="11072"/>
                  <a:pt x="21600" y="10800"/>
                </a:cubicBezTo>
                <a:cubicBezTo>
                  <a:pt x="21600" y="10665"/>
                  <a:pt x="21545" y="10542"/>
                  <a:pt x="21456" y="10453"/>
                </a:cubicBezTo>
              </a:path>
            </a:pathLst>
          </a:custGeom>
          <a:solidFill>
            <a:srgbClr val="F57B26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4" name="Shape 2547">
            <a:extLst>
              <a:ext uri="{FF2B5EF4-FFF2-40B4-BE49-F238E27FC236}">
                <a16:creationId xmlns:a16="http://schemas.microsoft.com/office/drawing/2014/main" id="{351E76C6-EADE-4877-B5F3-9C20EDD159A4}"/>
              </a:ext>
            </a:extLst>
          </p:cNvPr>
          <p:cNvSpPr/>
          <p:nvPr/>
        </p:nvSpPr>
        <p:spPr>
          <a:xfrm>
            <a:off x="1194895" y="4745242"/>
            <a:ext cx="558655" cy="5586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15643" y="14949"/>
                </a:lnTo>
                <a:cubicBezTo>
                  <a:pt x="16600" y="13832"/>
                  <a:pt x="17182" y="12386"/>
                  <a:pt x="17182" y="10800"/>
                </a:cubicBezTo>
                <a:cubicBezTo>
                  <a:pt x="17182" y="9214"/>
                  <a:pt x="16600" y="7767"/>
                  <a:pt x="15643" y="6651"/>
                </a:cubicBezTo>
                <a:lnTo>
                  <a:pt x="18073" y="4221"/>
                </a:lnTo>
                <a:cubicBezTo>
                  <a:pt x="19649" y="5963"/>
                  <a:pt x="20618" y="8266"/>
                  <a:pt x="20618" y="10800"/>
                </a:cubicBezTo>
                <a:cubicBezTo>
                  <a:pt x="20618" y="13335"/>
                  <a:pt x="19649" y="15637"/>
                  <a:pt x="18073" y="17379"/>
                </a:cubicBezTo>
                <a:moveTo>
                  <a:pt x="10800" y="20619"/>
                </a:moveTo>
                <a:cubicBezTo>
                  <a:pt x="8265" y="20619"/>
                  <a:pt x="5963" y="19650"/>
                  <a:pt x="4221" y="18073"/>
                </a:cubicBezTo>
                <a:lnTo>
                  <a:pt x="6651" y="15643"/>
                </a:lnTo>
                <a:cubicBezTo>
                  <a:pt x="7767" y="16600"/>
                  <a:pt x="9214" y="17182"/>
                  <a:pt x="10800" y="17182"/>
                </a:cubicBezTo>
                <a:cubicBezTo>
                  <a:pt x="12386" y="17182"/>
                  <a:pt x="13833" y="16600"/>
                  <a:pt x="14949" y="15643"/>
                </a:cubicBezTo>
                <a:lnTo>
                  <a:pt x="17379" y="18073"/>
                </a:lnTo>
                <a:cubicBezTo>
                  <a:pt x="15637" y="19650"/>
                  <a:pt x="13334" y="20619"/>
                  <a:pt x="10800" y="20619"/>
                </a:cubicBezTo>
                <a:moveTo>
                  <a:pt x="982" y="10800"/>
                </a:moveTo>
                <a:cubicBezTo>
                  <a:pt x="982" y="8266"/>
                  <a:pt x="1950" y="5963"/>
                  <a:pt x="3527" y="4221"/>
                </a:cubicBezTo>
                <a:lnTo>
                  <a:pt x="5957" y="6651"/>
                </a:lnTo>
                <a:cubicBezTo>
                  <a:pt x="4999" y="7767"/>
                  <a:pt x="4418" y="9214"/>
                  <a:pt x="4418" y="10800"/>
                </a:cubicBezTo>
                <a:cubicBezTo>
                  <a:pt x="4418" y="12386"/>
                  <a:pt x="4999" y="13832"/>
                  <a:pt x="5957" y="14949"/>
                </a:cubicBezTo>
                <a:lnTo>
                  <a:pt x="3527" y="17379"/>
                </a:lnTo>
                <a:cubicBezTo>
                  <a:pt x="1950" y="15637"/>
                  <a:pt x="982" y="13335"/>
                  <a:pt x="982" y="10800"/>
                </a:cubicBezTo>
                <a:moveTo>
                  <a:pt x="16200" y="10800"/>
                </a:moveTo>
                <a:cubicBezTo>
                  <a:pt x="16200" y="13782"/>
                  <a:pt x="13782" y="16200"/>
                  <a:pt x="10800" y="16200"/>
                </a:cubicBezTo>
                <a:cubicBezTo>
                  <a:pt x="7817" y="16200"/>
                  <a:pt x="5400" y="13782"/>
                  <a:pt x="5400" y="10800"/>
                </a:cubicBezTo>
                <a:cubicBezTo>
                  <a:pt x="5400" y="7817"/>
                  <a:pt x="7817" y="5400"/>
                  <a:pt x="10800" y="5400"/>
                </a:cubicBezTo>
                <a:cubicBezTo>
                  <a:pt x="13782" y="5400"/>
                  <a:pt x="16200" y="7817"/>
                  <a:pt x="16200" y="10800"/>
                </a:cubicBezTo>
                <a:moveTo>
                  <a:pt x="10800" y="982"/>
                </a:moveTo>
                <a:cubicBezTo>
                  <a:pt x="13334" y="982"/>
                  <a:pt x="15637" y="1950"/>
                  <a:pt x="17379" y="3527"/>
                </a:cubicBezTo>
                <a:lnTo>
                  <a:pt x="14949" y="5957"/>
                </a:lnTo>
                <a:cubicBezTo>
                  <a:pt x="13832" y="4999"/>
                  <a:pt x="12386" y="4418"/>
                  <a:pt x="10800" y="4418"/>
                </a:cubicBezTo>
                <a:cubicBezTo>
                  <a:pt x="9214" y="4418"/>
                  <a:pt x="7767" y="4999"/>
                  <a:pt x="6651" y="5957"/>
                </a:cubicBez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rgbClr val="F57B26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5" name="Shape 2587">
            <a:extLst>
              <a:ext uri="{FF2B5EF4-FFF2-40B4-BE49-F238E27FC236}">
                <a16:creationId xmlns:a16="http://schemas.microsoft.com/office/drawing/2014/main" id="{909E79A4-375E-455C-BD3F-8250E14EBC85}"/>
              </a:ext>
            </a:extLst>
          </p:cNvPr>
          <p:cNvSpPr/>
          <p:nvPr/>
        </p:nvSpPr>
        <p:spPr>
          <a:xfrm>
            <a:off x="6503410" y="3401109"/>
            <a:ext cx="558655" cy="5586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rgbClr val="6FCEFE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6" name="Shape 2591">
            <a:extLst>
              <a:ext uri="{FF2B5EF4-FFF2-40B4-BE49-F238E27FC236}">
                <a16:creationId xmlns:a16="http://schemas.microsoft.com/office/drawing/2014/main" id="{D00BF0C7-D86E-4546-96DA-271B1059C610}"/>
              </a:ext>
            </a:extLst>
          </p:cNvPr>
          <p:cNvSpPr/>
          <p:nvPr/>
        </p:nvSpPr>
        <p:spPr>
          <a:xfrm>
            <a:off x="6503411" y="2055260"/>
            <a:ext cx="558655" cy="5586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rgbClr val="6FCEFE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41" name="Shape 2605">
            <a:extLst>
              <a:ext uri="{FF2B5EF4-FFF2-40B4-BE49-F238E27FC236}">
                <a16:creationId xmlns:a16="http://schemas.microsoft.com/office/drawing/2014/main" id="{2AF146F2-AC6A-4D4E-A72D-27BE50DDAD76}"/>
              </a:ext>
            </a:extLst>
          </p:cNvPr>
          <p:cNvSpPr/>
          <p:nvPr/>
        </p:nvSpPr>
        <p:spPr>
          <a:xfrm>
            <a:off x="6503409" y="4746959"/>
            <a:ext cx="558920" cy="5589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10" h="21410" extrusionOk="0">
                <a:moveTo>
                  <a:pt x="20437" y="20437"/>
                </a:moveTo>
                <a:lnTo>
                  <a:pt x="17519" y="20437"/>
                </a:lnTo>
                <a:lnTo>
                  <a:pt x="17519" y="18978"/>
                </a:lnTo>
                <a:cubicBezTo>
                  <a:pt x="17519" y="18710"/>
                  <a:pt x="17301" y="18492"/>
                  <a:pt x="17033" y="18492"/>
                </a:cubicBezTo>
                <a:lnTo>
                  <a:pt x="15574" y="18492"/>
                </a:lnTo>
                <a:lnTo>
                  <a:pt x="15574" y="17033"/>
                </a:lnTo>
                <a:cubicBezTo>
                  <a:pt x="15574" y="16764"/>
                  <a:pt x="15356" y="16546"/>
                  <a:pt x="15087" y="16546"/>
                </a:cubicBezTo>
                <a:lnTo>
                  <a:pt x="13344" y="16546"/>
                </a:lnTo>
                <a:lnTo>
                  <a:pt x="10309" y="13497"/>
                </a:lnTo>
                <a:cubicBezTo>
                  <a:pt x="10221" y="13409"/>
                  <a:pt x="10100" y="13354"/>
                  <a:pt x="9965" y="13354"/>
                </a:cubicBezTo>
                <a:cubicBezTo>
                  <a:pt x="9819" y="13354"/>
                  <a:pt x="9693" y="13422"/>
                  <a:pt x="9604" y="13524"/>
                </a:cubicBezTo>
                <a:lnTo>
                  <a:pt x="8815" y="14312"/>
                </a:lnTo>
                <a:cubicBezTo>
                  <a:pt x="8435" y="14692"/>
                  <a:pt x="7820" y="14692"/>
                  <a:pt x="7441" y="14312"/>
                </a:cubicBezTo>
                <a:lnTo>
                  <a:pt x="1256" y="8128"/>
                </a:lnTo>
                <a:cubicBezTo>
                  <a:pt x="877" y="7748"/>
                  <a:pt x="877" y="7133"/>
                  <a:pt x="1256" y="6753"/>
                </a:cubicBezTo>
                <a:lnTo>
                  <a:pt x="6754" y="1255"/>
                </a:lnTo>
                <a:cubicBezTo>
                  <a:pt x="7133" y="876"/>
                  <a:pt x="7749" y="876"/>
                  <a:pt x="8128" y="1255"/>
                </a:cubicBezTo>
                <a:lnTo>
                  <a:pt x="14312" y="7440"/>
                </a:lnTo>
                <a:cubicBezTo>
                  <a:pt x="14691" y="7820"/>
                  <a:pt x="14691" y="8435"/>
                  <a:pt x="14312" y="8815"/>
                </a:cubicBezTo>
                <a:lnTo>
                  <a:pt x="13539" y="9588"/>
                </a:lnTo>
                <a:cubicBezTo>
                  <a:pt x="13437" y="9677"/>
                  <a:pt x="13370" y="9804"/>
                  <a:pt x="13370" y="9950"/>
                </a:cubicBezTo>
                <a:cubicBezTo>
                  <a:pt x="13370" y="10084"/>
                  <a:pt x="13424" y="10206"/>
                  <a:pt x="13513" y="10294"/>
                </a:cubicBezTo>
                <a:lnTo>
                  <a:pt x="20437" y="17234"/>
                </a:lnTo>
                <a:cubicBezTo>
                  <a:pt x="20437" y="17234"/>
                  <a:pt x="20437" y="20437"/>
                  <a:pt x="20437" y="20437"/>
                </a:cubicBezTo>
                <a:close/>
                <a:moveTo>
                  <a:pt x="21268" y="16689"/>
                </a:moveTo>
                <a:lnTo>
                  <a:pt x="14547" y="9954"/>
                </a:lnTo>
                <a:lnTo>
                  <a:pt x="14999" y="9502"/>
                </a:lnTo>
                <a:cubicBezTo>
                  <a:pt x="15758" y="8743"/>
                  <a:pt x="15758" y="7512"/>
                  <a:pt x="14999" y="6753"/>
                </a:cubicBezTo>
                <a:lnTo>
                  <a:pt x="8815" y="569"/>
                </a:lnTo>
                <a:cubicBezTo>
                  <a:pt x="8056" y="-190"/>
                  <a:pt x="6825" y="-190"/>
                  <a:pt x="6066" y="569"/>
                </a:cubicBezTo>
                <a:lnTo>
                  <a:pt x="569" y="6066"/>
                </a:lnTo>
                <a:cubicBezTo>
                  <a:pt x="-190" y="6825"/>
                  <a:pt x="-190" y="8056"/>
                  <a:pt x="569" y="8815"/>
                </a:cubicBezTo>
                <a:lnTo>
                  <a:pt x="6754" y="14999"/>
                </a:lnTo>
                <a:cubicBezTo>
                  <a:pt x="7513" y="15758"/>
                  <a:pt x="8743" y="15758"/>
                  <a:pt x="9502" y="14999"/>
                </a:cubicBezTo>
                <a:lnTo>
                  <a:pt x="9968" y="14533"/>
                </a:lnTo>
                <a:lnTo>
                  <a:pt x="12798" y="17376"/>
                </a:lnTo>
                <a:cubicBezTo>
                  <a:pt x="12886" y="17465"/>
                  <a:pt x="13008" y="17519"/>
                  <a:pt x="13142" y="17519"/>
                </a:cubicBezTo>
                <a:lnTo>
                  <a:pt x="14601" y="17519"/>
                </a:lnTo>
                <a:lnTo>
                  <a:pt x="14601" y="18978"/>
                </a:lnTo>
                <a:cubicBezTo>
                  <a:pt x="14601" y="19247"/>
                  <a:pt x="14819" y="19464"/>
                  <a:pt x="15087" y="19464"/>
                </a:cubicBezTo>
                <a:lnTo>
                  <a:pt x="16546" y="19464"/>
                </a:lnTo>
                <a:lnTo>
                  <a:pt x="16546" y="20924"/>
                </a:lnTo>
                <a:cubicBezTo>
                  <a:pt x="16546" y="21193"/>
                  <a:pt x="16764" y="21410"/>
                  <a:pt x="17033" y="21410"/>
                </a:cubicBezTo>
                <a:lnTo>
                  <a:pt x="20924" y="21410"/>
                </a:lnTo>
                <a:cubicBezTo>
                  <a:pt x="21192" y="21410"/>
                  <a:pt x="21410" y="21193"/>
                  <a:pt x="21410" y="20924"/>
                </a:cubicBezTo>
                <a:lnTo>
                  <a:pt x="21410" y="17033"/>
                </a:lnTo>
                <a:cubicBezTo>
                  <a:pt x="21410" y="16899"/>
                  <a:pt x="21356" y="16777"/>
                  <a:pt x="21268" y="16689"/>
                </a:cubicBezTo>
                <a:moveTo>
                  <a:pt x="6819" y="7791"/>
                </a:moveTo>
                <a:cubicBezTo>
                  <a:pt x="6282" y="7791"/>
                  <a:pt x="5846" y="7356"/>
                  <a:pt x="5846" y="6819"/>
                </a:cubicBezTo>
                <a:cubicBezTo>
                  <a:pt x="5846" y="6282"/>
                  <a:pt x="6282" y="5846"/>
                  <a:pt x="6819" y="5846"/>
                </a:cubicBezTo>
                <a:cubicBezTo>
                  <a:pt x="7356" y="5846"/>
                  <a:pt x="7792" y="6282"/>
                  <a:pt x="7792" y="6819"/>
                </a:cubicBezTo>
                <a:cubicBezTo>
                  <a:pt x="7792" y="7356"/>
                  <a:pt x="7356" y="7791"/>
                  <a:pt x="6819" y="7791"/>
                </a:cubicBezTo>
                <a:moveTo>
                  <a:pt x="6819" y="4873"/>
                </a:moveTo>
                <a:cubicBezTo>
                  <a:pt x="5745" y="4873"/>
                  <a:pt x="4874" y="5744"/>
                  <a:pt x="4874" y="6819"/>
                </a:cubicBezTo>
                <a:cubicBezTo>
                  <a:pt x="4874" y="7893"/>
                  <a:pt x="5745" y="8765"/>
                  <a:pt x="6819" y="8765"/>
                </a:cubicBezTo>
                <a:cubicBezTo>
                  <a:pt x="7893" y="8765"/>
                  <a:pt x="8765" y="7893"/>
                  <a:pt x="8765" y="6819"/>
                </a:cubicBezTo>
                <a:cubicBezTo>
                  <a:pt x="8765" y="5744"/>
                  <a:pt x="7893" y="4873"/>
                  <a:pt x="6819" y="4873"/>
                </a:cubicBezTo>
              </a:path>
            </a:pathLst>
          </a:custGeom>
          <a:solidFill>
            <a:srgbClr val="6FCEFE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42" name="Shape 2633">
            <a:extLst>
              <a:ext uri="{FF2B5EF4-FFF2-40B4-BE49-F238E27FC236}">
                <a16:creationId xmlns:a16="http://schemas.microsoft.com/office/drawing/2014/main" id="{D2D3B3CC-57BF-4F10-8020-D8E241FE2365}"/>
              </a:ext>
            </a:extLst>
          </p:cNvPr>
          <p:cNvSpPr/>
          <p:nvPr/>
        </p:nvSpPr>
        <p:spPr>
          <a:xfrm>
            <a:off x="1194897" y="3401109"/>
            <a:ext cx="558655" cy="5586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44" y="18334"/>
                </a:moveTo>
                <a:lnTo>
                  <a:pt x="15583" y="6873"/>
                </a:lnTo>
                <a:lnTo>
                  <a:pt x="20168" y="6873"/>
                </a:lnTo>
                <a:cubicBezTo>
                  <a:pt x="20168" y="6873"/>
                  <a:pt x="12144" y="18334"/>
                  <a:pt x="12144" y="18334"/>
                </a:cubicBezTo>
                <a:close/>
                <a:moveTo>
                  <a:pt x="10800" y="19403"/>
                </a:moveTo>
                <a:lnTo>
                  <a:pt x="7041" y="6873"/>
                </a:lnTo>
                <a:lnTo>
                  <a:pt x="14559" y="6873"/>
                </a:lnTo>
                <a:cubicBezTo>
                  <a:pt x="14559" y="6873"/>
                  <a:pt x="10800" y="19403"/>
                  <a:pt x="10800" y="19403"/>
                </a:cubicBezTo>
                <a:close/>
                <a:moveTo>
                  <a:pt x="1432" y="6873"/>
                </a:moveTo>
                <a:lnTo>
                  <a:pt x="6017" y="6873"/>
                </a:lnTo>
                <a:lnTo>
                  <a:pt x="9456" y="18334"/>
                </a:lnTo>
                <a:cubicBezTo>
                  <a:pt x="9456" y="18334"/>
                  <a:pt x="1432" y="6873"/>
                  <a:pt x="1432" y="6873"/>
                </a:cubicBezTo>
                <a:close/>
                <a:moveTo>
                  <a:pt x="6578" y="982"/>
                </a:moveTo>
                <a:lnTo>
                  <a:pt x="8536" y="982"/>
                </a:lnTo>
                <a:lnTo>
                  <a:pt x="6082" y="5891"/>
                </a:lnTo>
                <a:lnTo>
                  <a:pt x="1669" y="5891"/>
                </a:lnTo>
                <a:cubicBezTo>
                  <a:pt x="1669" y="5891"/>
                  <a:pt x="6578" y="982"/>
                  <a:pt x="6578" y="982"/>
                </a:cubicBezTo>
                <a:close/>
                <a:moveTo>
                  <a:pt x="11973" y="982"/>
                </a:moveTo>
                <a:lnTo>
                  <a:pt x="14427" y="5891"/>
                </a:lnTo>
                <a:lnTo>
                  <a:pt x="7173" y="5891"/>
                </a:lnTo>
                <a:lnTo>
                  <a:pt x="9627" y="982"/>
                </a:lnTo>
                <a:cubicBezTo>
                  <a:pt x="9627" y="982"/>
                  <a:pt x="11973" y="982"/>
                  <a:pt x="11973" y="982"/>
                </a:cubicBezTo>
                <a:close/>
                <a:moveTo>
                  <a:pt x="15022" y="982"/>
                </a:moveTo>
                <a:lnTo>
                  <a:pt x="19931" y="5891"/>
                </a:lnTo>
                <a:lnTo>
                  <a:pt x="15518" y="5891"/>
                </a:lnTo>
                <a:lnTo>
                  <a:pt x="13064" y="982"/>
                </a:lnTo>
                <a:cubicBezTo>
                  <a:pt x="13064" y="982"/>
                  <a:pt x="15022" y="982"/>
                  <a:pt x="15022" y="982"/>
                </a:cubicBezTo>
                <a:close/>
                <a:moveTo>
                  <a:pt x="21600" y="6382"/>
                </a:moveTo>
                <a:cubicBezTo>
                  <a:pt x="21600" y="6272"/>
                  <a:pt x="21557" y="6175"/>
                  <a:pt x="21495" y="6093"/>
                </a:cubicBezTo>
                <a:lnTo>
                  <a:pt x="21502" y="6088"/>
                </a:lnTo>
                <a:lnTo>
                  <a:pt x="21471" y="6057"/>
                </a:lnTo>
                <a:cubicBezTo>
                  <a:pt x="21459" y="6044"/>
                  <a:pt x="21448" y="6032"/>
                  <a:pt x="21434" y="6020"/>
                </a:cubicBezTo>
                <a:lnTo>
                  <a:pt x="15611" y="197"/>
                </a:lnTo>
                <a:lnTo>
                  <a:pt x="15604" y="201"/>
                </a:lnTo>
                <a:cubicBezTo>
                  <a:pt x="15514" y="82"/>
                  <a:pt x="15379" y="0"/>
                  <a:pt x="15218" y="0"/>
                </a:cubicBezTo>
                <a:lnTo>
                  <a:pt x="6382" y="0"/>
                </a:lnTo>
                <a:cubicBezTo>
                  <a:pt x="6221" y="0"/>
                  <a:pt x="6086" y="82"/>
                  <a:pt x="5996" y="201"/>
                </a:cubicBezTo>
                <a:lnTo>
                  <a:pt x="5989" y="197"/>
                </a:lnTo>
                <a:lnTo>
                  <a:pt x="166" y="6020"/>
                </a:lnTo>
                <a:cubicBezTo>
                  <a:pt x="152" y="6032"/>
                  <a:pt x="141" y="6044"/>
                  <a:pt x="129" y="6057"/>
                </a:cubicBezTo>
                <a:lnTo>
                  <a:pt x="98" y="6088"/>
                </a:lnTo>
                <a:lnTo>
                  <a:pt x="105" y="6093"/>
                </a:lnTo>
                <a:cubicBezTo>
                  <a:pt x="43" y="6175"/>
                  <a:pt x="0" y="6272"/>
                  <a:pt x="0" y="6382"/>
                </a:cubicBezTo>
                <a:cubicBezTo>
                  <a:pt x="0" y="6499"/>
                  <a:pt x="46" y="6602"/>
                  <a:pt x="115" y="6686"/>
                </a:cubicBezTo>
                <a:lnTo>
                  <a:pt x="109" y="6690"/>
                </a:lnTo>
                <a:lnTo>
                  <a:pt x="10418" y="21418"/>
                </a:lnTo>
                <a:lnTo>
                  <a:pt x="10424" y="21413"/>
                </a:lnTo>
                <a:cubicBezTo>
                  <a:pt x="10514" y="21525"/>
                  <a:pt x="10646" y="21600"/>
                  <a:pt x="10800" y="21600"/>
                </a:cubicBezTo>
                <a:cubicBezTo>
                  <a:pt x="10954" y="21600"/>
                  <a:pt x="11086" y="21525"/>
                  <a:pt x="11176" y="21413"/>
                </a:cubicBezTo>
                <a:lnTo>
                  <a:pt x="11182" y="21418"/>
                </a:lnTo>
                <a:lnTo>
                  <a:pt x="21491" y="6690"/>
                </a:lnTo>
                <a:lnTo>
                  <a:pt x="21485" y="6686"/>
                </a:lnTo>
                <a:cubicBezTo>
                  <a:pt x="21553" y="6602"/>
                  <a:pt x="21600" y="6499"/>
                  <a:pt x="21600" y="6382"/>
                </a:cubicBezTo>
              </a:path>
            </a:pathLst>
          </a:custGeom>
          <a:solidFill>
            <a:srgbClr val="F57B26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43" name="TextBox 6">
            <a:extLst>
              <a:ext uri="{FF2B5EF4-FFF2-40B4-BE49-F238E27FC236}">
                <a16:creationId xmlns:a16="http://schemas.microsoft.com/office/drawing/2014/main" id="{B2070CA3-9B7D-46A9-A4C5-81616A808A70}"/>
              </a:ext>
            </a:extLst>
          </p:cNvPr>
          <p:cNvSpPr txBox="1"/>
          <p:nvPr/>
        </p:nvSpPr>
        <p:spPr>
          <a:xfrm>
            <a:off x="1914064" y="3401108"/>
            <a:ext cx="16055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输入标题</a:t>
            </a: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44" name="Content Placeholder 2">
            <a:extLst>
              <a:ext uri="{FF2B5EF4-FFF2-40B4-BE49-F238E27FC236}">
                <a16:creationId xmlns:a16="http://schemas.microsoft.com/office/drawing/2014/main" id="{B7430B74-1CE4-47DE-9935-D3C96694ED95}"/>
              </a:ext>
            </a:extLst>
          </p:cNvPr>
          <p:cNvSpPr txBox="1">
            <a:spLocks/>
          </p:cNvSpPr>
          <p:nvPr/>
        </p:nvSpPr>
        <p:spPr>
          <a:xfrm>
            <a:off x="1914065" y="3763238"/>
            <a:ext cx="3635464" cy="3422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zh-CN"/>
            </a:defPPr>
            <a:lvl1pPr indent="0">
              <a:lnSpc>
                <a:spcPts val="2000"/>
              </a:lnSpc>
              <a:spcBef>
                <a:spcPct val="20000"/>
              </a:spcBef>
              <a:buFont typeface="Arial" pitchFamily="34" charset="0"/>
              <a:buNone/>
              <a:defRPr sz="110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chemeClr val="bg1">
                    <a:lumMod val="65000"/>
                  </a:schemeClr>
                </a:solidFill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1050">
                <a:solidFill>
                  <a:schemeClr val="bg1">
                    <a:lumMod val="65000"/>
                  </a:schemeClr>
                </a:solidFill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050">
                <a:solidFill>
                  <a:schemeClr val="bg1">
                    <a:lumMod val="65000"/>
                  </a:schemeClr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zh-CN" altLang="en-US" dirty="0">
                <a:latin typeface="+mn-lt"/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  <a:endParaRPr lang="en-US" altLang="zh-CN" dirty="0">
              <a:latin typeface="+mn-lt"/>
              <a:cs typeface="+mn-ea"/>
              <a:sym typeface="+mn-lt"/>
            </a:endParaRPr>
          </a:p>
        </p:txBody>
      </p:sp>
      <p:sp>
        <p:nvSpPr>
          <p:cNvPr id="45" name="TextBox 6">
            <a:extLst>
              <a:ext uri="{FF2B5EF4-FFF2-40B4-BE49-F238E27FC236}">
                <a16:creationId xmlns:a16="http://schemas.microsoft.com/office/drawing/2014/main" id="{CD114AC0-411F-4FA4-B23E-74F5DD53F5D2}"/>
              </a:ext>
            </a:extLst>
          </p:cNvPr>
          <p:cNvSpPr txBox="1"/>
          <p:nvPr/>
        </p:nvSpPr>
        <p:spPr>
          <a:xfrm>
            <a:off x="1914064" y="4783619"/>
            <a:ext cx="16055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输入标题</a:t>
            </a: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46" name="Content Placeholder 2">
            <a:extLst>
              <a:ext uri="{FF2B5EF4-FFF2-40B4-BE49-F238E27FC236}">
                <a16:creationId xmlns:a16="http://schemas.microsoft.com/office/drawing/2014/main" id="{044DB13B-E29C-4D2C-95FC-51B2109E8D89}"/>
              </a:ext>
            </a:extLst>
          </p:cNvPr>
          <p:cNvSpPr txBox="1">
            <a:spLocks/>
          </p:cNvSpPr>
          <p:nvPr/>
        </p:nvSpPr>
        <p:spPr>
          <a:xfrm>
            <a:off x="1914065" y="5145749"/>
            <a:ext cx="3635464" cy="3422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zh-CN"/>
            </a:defPPr>
            <a:lvl1pPr indent="0">
              <a:lnSpc>
                <a:spcPts val="2000"/>
              </a:lnSpc>
              <a:spcBef>
                <a:spcPct val="20000"/>
              </a:spcBef>
              <a:buFont typeface="Arial" pitchFamily="34" charset="0"/>
              <a:buNone/>
              <a:defRPr sz="110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chemeClr val="bg1">
                    <a:lumMod val="65000"/>
                  </a:schemeClr>
                </a:solidFill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1050">
                <a:solidFill>
                  <a:schemeClr val="bg1">
                    <a:lumMod val="65000"/>
                  </a:schemeClr>
                </a:solidFill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050">
                <a:solidFill>
                  <a:schemeClr val="bg1">
                    <a:lumMod val="65000"/>
                  </a:schemeClr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zh-CN" altLang="en-US" dirty="0">
                <a:latin typeface="+mn-lt"/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  <a:endParaRPr lang="en-US" altLang="zh-CN" dirty="0">
              <a:latin typeface="+mn-lt"/>
              <a:cs typeface="+mn-ea"/>
              <a:sym typeface="+mn-lt"/>
            </a:endParaRPr>
          </a:p>
        </p:txBody>
      </p:sp>
      <p:sp>
        <p:nvSpPr>
          <p:cNvPr id="47" name="TextBox 6">
            <a:extLst>
              <a:ext uri="{FF2B5EF4-FFF2-40B4-BE49-F238E27FC236}">
                <a16:creationId xmlns:a16="http://schemas.microsoft.com/office/drawing/2014/main" id="{06A855BC-47FB-4D98-85F1-26CDF7AB226C}"/>
              </a:ext>
            </a:extLst>
          </p:cNvPr>
          <p:cNvSpPr txBox="1"/>
          <p:nvPr/>
        </p:nvSpPr>
        <p:spPr>
          <a:xfrm>
            <a:off x="7178299" y="2048992"/>
            <a:ext cx="16055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输入您的标题</a:t>
            </a: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48" name="Content Placeholder 2">
            <a:extLst>
              <a:ext uri="{FF2B5EF4-FFF2-40B4-BE49-F238E27FC236}">
                <a16:creationId xmlns:a16="http://schemas.microsoft.com/office/drawing/2014/main" id="{11361E72-5A52-47AA-B2FC-B4628C51D1DE}"/>
              </a:ext>
            </a:extLst>
          </p:cNvPr>
          <p:cNvSpPr txBox="1">
            <a:spLocks/>
          </p:cNvSpPr>
          <p:nvPr/>
        </p:nvSpPr>
        <p:spPr>
          <a:xfrm>
            <a:off x="7178299" y="2394749"/>
            <a:ext cx="3742704" cy="33472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zh-CN"/>
            </a:defPPr>
            <a:lvl1pPr indent="0">
              <a:lnSpc>
                <a:spcPts val="2000"/>
              </a:lnSpc>
              <a:spcBef>
                <a:spcPct val="20000"/>
              </a:spcBef>
              <a:buFont typeface="Arial" pitchFamily="34" charset="0"/>
              <a:buNone/>
              <a:defRPr sz="110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chemeClr val="bg1">
                    <a:lumMod val="65000"/>
                  </a:schemeClr>
                </a:solidFill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1050">
                <a:solidFill>
                  <a:schemeClr val="bg1">
                    <a:lumMod val="65000"/>
                  </a:schemeClr>
                </a:solidFill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050">
                <a:solidFill>
                  <a:schemeClr val="bg1">
                    <a:lumMod val="65000"/>
                  </a:schemeClr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zh-CN" altLang="en-US" dirty="0">
                <a:latin typeface="+mn-lt"/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  <a:endParaRPr lang="en-US" altLang="zh-CN" dirty="0">
              <a:latin typeface="+mn-lt"/>
              <a:cs typeface="+mn-ea"/>
              <a:sym typeface="+mn-lt"/>
            </a:endParaRPr>
          </a:p>
        </p:txBody>
      </p:sp>
      <p:sp>
        <p:nvSpPr>
          <p:cNvPr id="49" name="TextBox 6">
            <a:extLst>
              <a:ext uri="{FF2B5EF4-FFF2-40B4-BE49-F238E27FC236}">
                <a16:creationId xmlns:a16="http://schemas.microsoft.com/office/drawing/2014/main" id="{94E1FF65-4D72-4263-BF0D-F80045F5B196}"/>
              </a:ext>
            </a:extLst>
          </p:cNvPr>
          <p:cNvSpPr txBox="1"/>
          <p:nvPr/>
        </p:nvSpPr>
        <p:spPr>
          <a:xfrm>
            <a:off x="7178297" y="3401108"/>
            <a:ext cx="16055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输入您的标题</a:t>
            </a: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50" name="Content Placeholder 2">
            <a:extLst>
              <a:ext uri="{FF2B5EF4-FFF2-40B4-BE49-F238E27FC236}">
                <a16:creationId xmlns:a16="http://schemas.microsoft.com/office/drawing/2014/main" id="{1AE21025-7D7A-4539-93B0-28A615163EB2}"/>
              </a:ext>
            </a:extLst>
          </p:cNvPr>
          <p:cNvSpPr txBox="1">
            <a:spLocks/>
          </p:cNvSpPr>
          <p:nvPr/>
        </p:nvSpPr>
        <p:spPr>
          <a:xfrm>
            <a:off x="7178299" y="3770438"/>
            <a:ext cx="3742704" cy="33472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zh-CN"/>
            </a:defPPr>
            <a:lvl1pPr indent="0">
              <a:lnSpc>
                <a:spcPts val="2000"/>
              </a:lnSpc>
              <a:spcBef>
                <a:spcPct val="20000"/>
              </a:spcBef>
              <a:buFont typeface="Arial" pitchFamily="34" charset="0"/>
              <a:buNone/>
              <a:defRPr sz="110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chemeClr val="bg1">
                    <a:lumMod val="65000"/>
                  </a:schemeClr>
                </a:solidFill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1050">
                <a:solidFill>
                  <a:schemeClr val="bg1">
                    <a:lumMod val="65000"/>
                  </a:schemeClr>
                </a:solidFill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050">
                <a:solidFill>
                  <a:schemeClr val="bg1">
                    <a:lumMod val="65000"/>
                  </a:schemeClr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zh-CN" altLang="en-US" dirty="0">
                <a:latin typeface="+mn-lt"/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  <a:endParaRPr lang="en-US" altLang="zh-CN" dirty="0">
              <a:latin typeface="+mn-lt"/>
              <a:cs typeface="+mn-ea"/>
              <a:sym typeface="+mn-lt"/>
            </a:endParaRPr>
          </a:p>
        </p:txBody>
      </p:sp>
      <p:sp>
        <p:nvSpPr>
          <p:cNvPr id="51" name="TextBox 6">
            <a:extLst>
              <a:ext uri="{FF2B5EF4-FFF2-40B4-BE49-F238E27FC236}">
                <a16:creationId xmlns:a16="http://schemas.microsoft.com/office/drawing/2014/main" id="{F9D04576-8FBC-43C2-A0EC-CD06774D3D42}"/>
              </a:ext>
            </a:extLst>
          </p:cNvPr>
          <p:cNvSpPr txBox="1"/>
          <p:nvPr/>
        </p:nvSpPr>
        <p:spPr>
          <a:xfrm>
            <a:off x="7178297" y="4783619"/>
            <a:ext cx="16055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输入您的标题</a:t>
            </a: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52" name="Content Placeholder 2">
            <a:extLst>
              <a:ext uri="{FF2B5EF4-FFF2-40B4-BE49-F238E27FC236}">
                <a16:creationId xmlns:a16="http://schemas.microsoft.com/office/drawing/2014/main" id="{9C88CFD2-6BB6-4268-A64A-CBD747CA52C8}"/>
              </a:ext>
            </a:extLst>
          </p:cNvPr>
          <p:cNvSpPr txBox="1">
            <a:spLocks/>
          </p:cNvSpPr>
          <p:nvPr/>
        </p:nvSpPr>
        <p:spPr>
          <a:xfrm>
            <a:off x="7178299" y="5129376"/>
            <a:ext cx="3742704" cy="33472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zh-CN"/>
            </a:defPPr>
            <a:lvl1pPr indent="0">
              <a:lnSpc>
                <a:spcPts val="2000"/>
              </a:lnSpc>
              <a:spcBef>
                <a:spcPct val="20000"/>
              </a:spcBef>
              <a:buFont typeface="Arial" pitchFamily="34" charset="0"/>
              <a:buNone/>
              <a:defRPr sz="110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chemeClr val="bg1">
                    <a:lumMod val="65000"/>
                  </a:schemeClr>
                </a:solidFill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1050">
                <a:solidFill>
                  <a:schemeClr val="bg1">
                    <a:lumMod val="65000"/>
                  </a:schemeClr>
                </a:solidFill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050">
                <a:solidFill>
                  <a:schemeClr val="bg1">
                    <a:lumMod val="65000"/>
                  </a:schemeClr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zh-CN" altLang="en-US" dirty="0">
                <a:latin typeface="+mn-lt"/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  <a:endParaRPr lang="en-US" altLang="zh-CN" dirty="0">
              <a:latin typeface="+mn-lt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6737006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Click="0" advTm="0">
        <p15:prstTrans prst="pageCurlDouble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 tmFilter="0,0; .5, 1; 1, 1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650"/>
                            </p:stCondLst>
                            <p:childTnLst>
                              <p:par>
                                <p:cTn id="21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150"/>
                            </p:stCondLst>
                            <p:childTnLst>
                              <p:par>
                                <p:cTn id="2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850"/>
                            </p:stCondLst>
                            <p:childTnLst>
                              <p:par>
                                <p:cTn id="3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25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25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200"/>
                            </p:stCondLst>
                            <p:childTnLst>
                              <p:par>
                                <p:cTn id="38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700"/>
                            </p:stCondLst>
                            <p:childTnLst>
                              <p:par>
                                <p:cTn id="4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450"/>
                            </p:stCondLst>
                            <p:childTnLst>
                              <p:par>
                                <p:cTn id="4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250" fill="hold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250" fill="hold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6800"/>
                            </p:stCondLst>
                            <p:childTnLst>
                              <p:par>
                                <p:cTn id="5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7300"/>
                            </p:stCondLst>
                            <p:childTnLst>
                              <p:par>
                                <p:cTn id="6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8000"/>
                            </p:stCondLst>
                            <p:childTnLst>
                              <p:par>
                                <p:cTn id="6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25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25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25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9350"/>
                            </p:stCondLst>
                            <p:childTnLst>
                              <p:par>
                                <p:cTn id="72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9850"/>
                            </p:stCondLst>
                            <p:childTnLst>
                              <p:par>
                                <p:cTn id="7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10600"/>
                            </p:stCondLst>
                            <p:childTnLst>
                              <p:par>
                                <p:cTn id="8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25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25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25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1950"/>
                            </p:stCondLst>
                            <p:childTnLst>
                              <p:par>
                                <p:cTn id="89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12450"/>
                            </p:stCondLst>
                            <p:childTnLst>
                              <p:par>
                                <p:cTn id="9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13150"/>
                            </p:stCondLst>
                            <p:childTnLst>
                              <p:par>
                                <p:cTn id="10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250" fill="hold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250" fill="hold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4" dur="250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14500"/>
                            </p:stCondLst>
                            <p:childTnLst>
                              <p:par>
                                <p:cTn id="106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15000"/>
                            </p:stCondLst>
                            <p:childTnLst>
                              <p:par>
                                <p:cTn id="1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3" dur="500" fill="hold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500" fill="hold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15750"/>
                            </p:stCondLst>
                            <p:childTnLst>
                              <p:par>
                                <p:cTn id="11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9" dur="250" fill="hold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250" fill="hold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1" dur="250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31" grpId="0" build="p"/>
      <p:bldP spid="32" grpId="0" build="p"/>
      <p:bldP spid="33" grpId="0" animBg="1"/>
      <p:bldP spid="34" grpId="0" animBg="1"/>
      <p:bldP spid="35" grpId="0" animBg="1"/>
      <p:bldP spid="36" grpId="0" animBg="1"/>
      <p:bldP spid="41" grpId="0" animBg="1"/>
      <p:bldP spid="42" grpId="0" animBg="1"/>
      <p:bldP spid="43" grpId="0" build="p"/>
      <p:bldP spid="44" grpId="0" build="p"/>
      <p:bldP spid="45" grpId="0" build="p"/>
      <p:bldP spid="46" grpId="0" build="p"/>
      <p:bldP spid="47" grpId="0" build="p"/>
      <p:bldP spid="48" grpId="0" build="p"/>
      <p:bldP spid="49" grpId="0" build="p"/>
      <p:bldP spid="50" grpId="0" build="p"/>
      <p:bldP spid="51" grpId="0" build="p"/>
      <p:bldP spid="52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3643088-BADE-4B2C-8D16-84C355AB002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0"/>
            <a:ext cx="12202211" cy="6858000"/>
          </a:xfrm>
          <a:prstGeom prst="rect">
            <a:avLst/>
          </a:prstGeom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7218F93-96F9-462F-BAFB-7E145859AED0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99171" y="-99171"/>
            <a:ext cx="1058956" cy="1257300"/>
          </a:xfrm>
          <a:prstGeom prst="rect">
            <a:avLst/>
          </a:prstGeom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EC3E81A0-9853-4F50-A63A-07CECD490F96}"/>
              </a:ext>
            </a:extLst>
          </p:cNvPr>
          <p:cNvSpPr txBox="1"/>
          <p:nvPr/>
        </p:nvSpPr>
        <p:spPr>
          <a:xfrm>
            <a:off x="1367227" y="80984"/>
            <a:ext cx="27918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ART THREE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17F88ED-E918-45C7-8ED4-BD8E20C0EB3A}"/>
              </a:ext>
            </a:extLst>
          </p:cNvPr>
          <p:cNvSpPr txBox="1"/>
          <p:nvPr/>
        </p:nvSpPr>
        <p:spPr>
          <a:xfrm>
            <a:off x="3818698" y="90631"/>
            <a:ext cx="2957124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000" spc="600" dirty="0">
                <a:latin typeface="+mn-lt"/>
                <a:ea typeface="+mn-ea"/>
                <a:cs typeface="+mn-ea"/>
                <a:sym typeface="+mn-lt"/>
              </a:rPr>
              <a:t>教学设计</a:t>
            </a:r>
          </a:p>
        </p:txBody>
      </p:sp>
      <p:grpSp>
        <p:nvGrpSpPr>
          <p:cNvPr id="6" name="Group 74">
            <a:extLst>
              <a:ext uri="{FF2B5EF4-FFF2-40B4-BE49-F238E27FC236}">
                <a16:creationId xmlns:a16="http://schemas.microsoft.com/office/drawing/2014/main" id="{73DBA593-F111-487A-9B12-47E872D58553}"/>
              </a:ext>
            </a:extLst>
          </p:cNvPr>
          <p:cNvGrpSpPr>
            <a:grpSpLocks/>
          </p:cNvGrpSpPr>
          <p:nvPr/>
        </p:nvGrpSpPr>
        <p:grpSpPr bwMode="auto">
          <a:xfrm>
            <a:off x="-10582" y="3113219"/>
            <a:ext cx="12213167" cy="1670050"/>
            <a:chOff x="-6" y="2007"/>
            <a:chExt cx="5770" cy="789"/>
          </a:xfrm>
          <a:effectLst/>
        </p:grpSpPr>
        <p:sp>
          <p:nvSpPr>
            <p:cNvPr id="10" name="Line 75">
              <a:extLst>
                <a:ext uri="{FF2B5EF4-FFF2-40B4-BE49-F238E27FC236}">
                  <a16:creationId xmlns:a16="http://schemas.microsoft.com/office/drawing/2014/main" id="{66EAC238-BB3C-4C62-ADEA-A0B401F72CA4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-6" y="2405"/>
              <a:ext cx="652" cy="0"/>
            </a:xfrm>
            <a:prstGeom prst="line">
              <a:avLst/>
            </a:prstGeom>
            <a:noFill/>
            <a:ln w="76200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3200">
                <a:cs typeface="+mn-ea"/>
                <a:sym typeface="+mn-lt"/>
              </a:endParaRPr>
            </a:p>
          </p:txBody>
        </p:sp>
        <p:sp>
          <p:nvSpPr>
            <p:cNvPr id="11" name="Line 76">
              <a:extLst>
                <a:ext uri="{FF2B5EF4-FFF2-40B4-BE49-F238E27FC236}">
                  <a16:creationId xmlns:a16="http://schemas.microsoft.com/office/drawing/2014/main" id="{B68F1C3E-4346-4F4A-BC9A-CD42A4BC66ED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3845" y="2405"/>
              <a:ext cx="500" cy="0"/>
            </a:xfrm>
            <a:prstGeom prst="line">
              <a:avLst/>
            </a:prstGeom>
            <a:noFill/>
            <a:ln w="76200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3200">
                <a:cs typeface="+mn-ea"/>
                <a:sym typeface="+mn-lt"/>
              </a:endParaRPr>
            </a:p>
          </p:txBody>
        </p:sp>
        <p:sp>
          <p:nvSpPr>
            <p:cNvPr id="12" name="Arc 77">
              <a:extLst>
                <a:ext uri="{FF2B5EF4-FFF2-40B4-BE49-F238E27FC236}">
                  <a16:creationId xmlns:a16="http://schemas.microsoft.com/office/drawing/2014/main" id="{53E28F1B-B7D1-4ED0-BF2E-0F4189D5EC33}"/>
                </a:ext>
              </a:extLst>
            </p:cNvPr>
            <p:cNvSpPr>
              <a:spLocks/>
            </p:cNvSpPr>
            <p:nvPr/>
          </p:nvSpPr>
          <p:spPr bwMode="gray">
            <a:xfrm rot="16200000" flipV="1">
              <a:off x="2052" y="1833"/>
              <a:ext cx="412" cy="769"/>
            </a:xfrm>
            <a:custGeom>
              <a:avLst/>
              <a:gdLst>
                <a:gd name="T0" fmla="*/ 0 w 22794"/>
                <a:gd name="T1" fmla="*/ 0 h 43200"/>
                <a:gd name="T2" fmla="*/ 0 w 22794"/>
                <a:gd name="T3" fmla="*/ 14 h 43200"/>
                <a:gd name="T4" fmla="*/ 0 w 22794"/>
                <a:gd name="T5" fmla="*/ 7 h 43200"/>
                <a:gd name="T6" fmla="*/ 0 60000 65536"/>
                <a:gd name="T7" fmla="*/ 0 60000 65536"/>
                <a:gd name="T8" fmla="*/ 0 60000 65536"/>
                <a:gd name="T9" fmla="*/ 0 w 22794"/>
                <a:gd name="T10" fmla="*/ 0 h 43200"/>
                <a:gd name="T11" fmla="*/ 22794 w 22794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794" h="43200" fill="none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</a:path>
                <a:path w="22794" h="43200" stroke="0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  <a:lnTo>
                    <a:pt x="1194" y="21600"/>
                  </a:lnTo>
                  <a:lnTo>
                    <a:pt x="749" y="4"/>
                  </a:lnTo>
                  <a:close/>
                </a:path>
              </a:pathLst>
            </a:custGeom>
            <a:noFill/>
            <a:ln w="76200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zh-CN" altLang="en-US" sz="3200">
                <a:cs typeface="+mn-ea"/>
                <a:sym typeface="+mn-lt"/>
              </a:endParaRPr>
            </a:p>
          </p:txBody>
        </p:sp>
        <p:sp>
          <p:nvSpPr>
            <p:cNvPr id="13" name="Arc 78">
              <a:extLst>
                <a:ext uri="{FF2B5EF4-FFF2-40B4-BE49-F238E27FC236}">
                  <a16:creationId xmlns:a16="http://schemas.microsoft.com/office/drawing/2014/main" id="{61CF9C2E-E933-4DAE-ABE6-82DF2BD59ABF}"/>
                </a:ext>
              </a:extLst>
            </p:cNvPr>
            <p:cNvSpPr>
              <a:spLocks/>
            </p:cNvSpPr>
            <p:nvPr/>
          </p:nvSpPr>
          <p:spPr bwMode="gray">
            <a:xfrm rot="16200000" flipV="1">
              <a:off x="4503" y="1831"/>
              <a:ext cx="418" cy="769"/>
            </a:xfrm>
            <a:custGeom>
              <a:avLst/>
              <a:gdLst>
                <a:gd name="T0" fmla="*/ 0 w 22794"/>
                <a:gd name="T1" fmla="*/ 0 h 43200"/>
                <a:gd name="T2" fmla="*/ 0 w 22794"/>
                <a:gd name="T3" fmla="*/ 14 h 43200"/>
                <a:gd name="T4" fmla="*/ 0 w 22794"/>
                <a:gd name="T5" fmla="*/ 7 h 43200"/>
                <a:gd name="T6" fmla="*/ 0 60000 65536"/>
                <a:gd name="T7" fmla="*/ 0 60000 65536"/>
                <a:gd name="T8" fmla="*/ 0 60000 65536"/>
                <a:gd name="T9" fmla="*/ 0 w 22794"/>
                <a:gd name="T10" fmla="*/ 0 h 43200"/>
                <a:gd name="T11" fmla="*/ 22794 w 22794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794" h="43200" fill="none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</a:path>
                <a:path w="22794" h="43200" stroke="0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  <a:lnTo>
                    <a:pt x="1194" y="21600"/>
                  </a:lnTo>
                  <a:lnTo>
                    <a:pt x="749" y="4"/>
                  </a:lnTo>
                  <a:close/>
                </a:path>
              </a:pathLst>
            </a:custGeom>
            <a:noFill/>
            <a:ln w="76200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zh-CN" altLang="en-US" sz="3200">
                <a:cs typeface="+mn-ea"/>
                <a:sym typeface="+mn-lt"/>
              </a:endParaRPr>
            </a:p>
          </p:txBody>
        </p:sp>
        <p:sp>
          <p:nvSpPr>
            <p:cNvPr id="14" name="Line 79">
              <a:extLst>
                <a:ext uri="{FF2B5EF4-FFF2-40B4-BE49-F238E27FC236}">
                  <a16:creationId xmlns:a16="http://schemas.microsoft.com/office/drawing/2014/main" id="{11AEE6BD-6296-4756-A5F7-6CFBEAE4AC1D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2625" y="2405"/>
              <a:ext cx="487" cy="0"/>
            </a:xfrm>
            <a:prstGeom prst="line">
              <a:avLst/>
            </a:prstGeom>
            <a:noFill/>
            <a:ln w="76200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3200">
                <a:cs typeface="+mn-ea"/>
                <a:sym typeface="+mn-lt"/>
              </a:endParaRPr>
            </a:p>
          </p:txBody>
        </p:sp>
        <p:sp>
          <p:nvSpPr>
            <p:cNvPr id="15" name="Arc 80">
              <a:extLst>
                <a:ext uri="{FF2B5EF4-FFF2-40B4-BE49-F238E27FC236}">
                  <a16:creationId xmlns:a16="http://schemas.microsoft.com/office/drawing/2014/main" id="{0CF5EAB3-C112-4AEE-B2CF-951ECE9E40E0}"/>
                </a:ext>
              </a:extLst>
            </p:cNvPr>
            <p:cNvSpPr>
              <a:spLocks/>
            </p:cNvSpPr>
            <p:nvPr/>
          </p:nvSpPr>
          <p:spPr bwMode="gray">
            <a:xfrm rot="5400000">
              <a:off x="3278" y="2211"/>
              <a:ext cx="400" cy="769"/>
            </a:xfrm>
            <a:custGeom>
              <a:avLst/>
              <a:gdLst>
                <a:gd name="T0" fmla="*/ 0 w 22794"/>
                <a:gd name="T1" fmla="*/ 0 h 43200"/>
                <a:gd name="T2" fmla="*/ 0 w 22794"/>
                <a:gd name="T3" fmla="*/ 14 h 43200"/>
                <a:gd name="T4" fmla="*/ 0 w 22794"/>
                <a:gd name="T5" fmla="*/ 7 h 43200"/>
                <a:gd name="T6" fmla="*/ 0 60000 65536"/>
                <a:gd name="T7" fmla="*/ 0 60000 65536"/>
                <a:gd name="T8" fmla="*/ 0 60000 65536"/>
                <a:gd name="T9" fmla="*/ 0 w 22794"/>
                <a:gd name="T10" fmla="*/ 0 h 43200"/>
                <a:gd name="T11" fmla="*/ 22794 w 22794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794" h="43200" fill="none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</a:path>
                <a:path w="22794" h="43200" stroke="0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  <a:lnTo>
                    <a:pt x="1194" y="21600"/>
                  </a:lnTo>
                  <a:lnTo>
                    <a:pt x="749" y="4"/>
                  </a:lnTo>
                  <a:close/>
                </a:path>
              </a:pathLst>
            </a:custGeom>
            <a:noFill/>
            <a:ln w="76200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zh-CN" altLang="en-US" sz="3200">
                <a:cs typeface="+mn-ea"/>
                <a:sym typeface="+mn-lt"/>
              </a:endParaRPr>
            </a:p>
          </p:txBody>
        </p:sp>
        <p:sp>
          <p:nvSpPr>
            <p:cNvPr id="16" name="Line 81">
              <a:extLst>
                <a:ext uri="{FF2B5EF4-FFF2-40B4-BE49-F238E27FC236}">
                  <a16:creationId xmlns:a16="http://schemas.microsoft.com/office/drawing/2014/main" id="{B4C3907C-A806-46A3-BEBF-17D1B97F0779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5081" y="2405"/>
              <a:ext cx="683" cy="0"/>
            </a:xfrm>
            <a:prstGeom prst="line">
              <a:avLst/>
            </a:prstGeom>
            <a:noFill/>
            <a:ln w="76200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3200">
                <a:cs typeface="+mn-ea"/>
                <a:sym typeface="+mn-lt"/>
              </a:endParaRPr>
            </a:p>
          </p:txBody>
        </p:sp>
        <p:sp>
          <p:nvSpPr>
            <p:cNvPr id="17" name="Line 82">
              <a:extLst>
                <a:ext uri="{FF2B5EF4-FFF2-40B4-BE49-F238E27FC236}">
                  <a16:creationId xmlns:a16="http://schemas.microsoft.com/office/drawing/2014/main" id="{25B8E88B-8F0A-4143-84F2-809AF67D64B0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382" y="2405"/>
              <a:ext cx="509" cy="0"/>
            </a:xfrm>
            <a:prstGeom prst="line">
              <a:avLst/>
            </a:prstGeom>
            <a:noFill/>
            <a:ln w="76200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3200">
                <a:cs typeface="+mn-ea"/>
                <a:sym typeface="+mn-lt"/>
              </a:endParaRPr>
            </a:p>
          </p:txBody>
        </p:sp>
        <p:sp>
          <p:nvSpPr>
            <p:cNvPr id="18" name="Arc 83">
              <a:extLst>
                <a:ext uri="{FF2B5EF4-FFF2-40B4-BE49-F238E27FC236}">
                  <a16:creationId xmlns:a16="http://schemas.microsoft.com/office/drawing/2014/main" id="{61D6FFE7-54AC-4A49-B263-EA98B9D48F04}"/>
                </a:ext>
              </a:extLst>
            </p:cNvPr>
            <p:cNvSpPr>
              <a:spLocks/>
            </p:cNvSpPr>
            <p:nvPr/>
          </p:nvSpPr>
          <p:spPr bwMode="gray">
            <a:xfrm rot="5400000">
              <a:off x="815" y="2211"/>
              <a:ext cx="400" cy="769"/>
            </a:xfrm>
            <a:custGeom>
              <a:avLst/>
              <a:gdLst>
                <a:gd name="T0" fmla="*/ 0 w 22794"/>
                <a:gd name="T1" fmla="*/ 0 h 43200"/>
                <a:gd name="T2" fmla="*/ 0 w 22794"/>
                <a:gd name="T3" fmla="*/ 14 h 43200"/>
                <a:gd name="T4" fmla="*/ 0 w 22794"/>
                <a:gd name="T5" fmla="*/ 7 h 43200"/>
                <a:gd name="T6" fmla="*/ 0 60000 65536"/>
                <a:gd name="T7" fmla="*/ 0 60000 65536"/>
                <a:gd name="T8" fmla="*/ 0 60000 65536"/>
                <a:gd name="T9" fmla="*/ 0 w 22794"/>
                <a:gd name="T10" fmla="*/ 0 h 43200"/>
                <a:gd name="T11" fmla="*/ 22794 w 22794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794" h="43200" fill="none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</a:path>
                <a:path w="22794" h="43200" stroke="0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  <a:lnTo>
                    <a:pt x="1194" y="21600"/>
                  </a:lnTo>
                  <a:lnTo>
                    <a:pt x="749" y="4"/>
                  </a:lnTo>
                  <a:close/>
                </a:path>
              </a:pathLst>
            </a:custGeom>
            <a:noFill/>
            <a:ln w="76200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zh-CN" altLang="en-US" sz="3200">
                <a:cs typeface="+mn-ea"/>
                <a:sym typeface="+mn-lt"/>
              </a:endParaRPr>
            </a:p>
          </p:txBody>
        </p:sp>
      </p:grp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42C534EA-B839-4E13-B26E-C070E0F0C3BD}"/>
              </a:ext>
            </a:extLst>
          </p:cNvPr>
          <p:cNvGrpSpPr/>
          <p:nvPr/>
        </p:nvGrpSpPr>
        <p:grpSpPr>
          <a:xfrm>
            <a:off x="1028075" y="3130603"/>
            <a:ext cx="2092023" cy="1656184"/>
            <a:chOff x="815236" y="1059582"/>
            <a:chExt cx="2092022" cy="1656184"/>
          </a:xfrm>
        </p:grpSpPr>
        <p:graphicFrame>
          <p:nvGraphicFramePr>
            <p:cNvPr id="20" name="Chart Placeholder 8">
              <a:extLst>
                <a:ext uri="{FF2B5EF4-FFF2-40B4-BE49-F238E27FC236}">
                  <a16:creationId xmlns:a16="http://schemas.microsoft.com/office/drawing/2014/main" id="{E2229F2E-B8BF-4A09-AC2B-8156BA835613}"/>
                </a:ext>
              </a:extLst>
            </p:cNvPr>
            <p:cNvGraphicFramePr>
              <a:graphicFrameLocks/>
            </p:cNvGraphicFramePr>
            <p:nvPr>
              <p:custDataLst>
                <p:tags r:id="rId4"/>
              </p:custDataLst>
              <p:extLst>
                <p:ext uri="{D42A27DB-BD31-4B8C-83A1-F6EECF244321}">
                  <p14:modId xmlns:p14="http://schemas.microsoft.com/office/powerpoint/2010/main" val="3548455258"/>
                </p:ext>
              </p:extLst>
            </p:nvPr>
          </p:nvGraphicFramePr>
          <p:xfrm>
            <a:off x="815236" y="1059582"/>
            <a:ext cx="2092022" cy="165618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sp>
          <p:nvSpPr>
            <p:cNvPr id="21" name="矩形 20">
              <a:extLst>
                <a:ext uri="{FF2B5EF4-FFF2-40B4-BE49-F238E27FC236}">
                  <a16:creationId xmlns:a16="http://schemas.microsoft.com/office/drawing/2014/main" id="{4D733030-4E17-4332-8946-606DE531A01F}"/>
                </a:ext>
              </a:extLst>
            </p:cNvPr>
            <p:cNvSpPr/>
            <p:nvPr/>
          </p:nvSpPr>
          <p:spPr>
            <a:xfrm>
              <a:off x="1492394" y="1599474"/>
              <a:ext cx="904414" cy="523220"/>
            </a:xfrm>
            <a:prstGeom prst="rect">
              <a:avLst/>
            </a:prstGeom>
            <a:ln>
              <a:noFill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2800" b="1" dirty="0">
                  <a:solidFill>
                    <a:schemeClr val="bg1">
                      <a:lumMod val="50000"/>
                    </a:schemeClr>
                  </a:solidFill>
                  <a:cs typeface="+mn-ea"/>
                  <a:sym typeface="+mn-lt"/>
                </a:rPr>
                <a:t>20%</a:t>
              </a:r>
              <a:endParaRPr lang="zh-CN" altLang="en-US" sz="2800" b="1" dirty="0">
                <a:solidFill>
                  <a:schemeClr val="bg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687A6317-BCA4-41EA-BCE0-AE5065B387C4}"/>
              </a:ext>
            </a:extLst>
          </p:cNvPr>
          <p:cNvGrpSpPr/>
          <p:nvPr/>
        </p:nvGrpSpPr>
        <p:grpSpPr>
          <a:xfrm>
            <a:off x="3664701" y="3111170"/>
            <a:ext cx="2092023" cy="1656184"/>
            <a:chOff x="3447279" y="1059582"/>
            <a:chExt cx="2092022" cy="1656184"/>
          </a:xfrm>
        </p:grpSpPr>
        <p:graphicFrame>
          <p:nvGraphicFramePr>
            <p:cNvPr id="23" name="Chart Placeholder 8">
              <a:extLst>
                <a:ext uri="{FF2B5EF4-FFF2-40B4-BE49-F238E27FC236}">
                  <a16:creationId xmlns:a16="http://schemas.microsoft.com/office/drawing/2014/main" id="{D29E933F-F7D7-427D-ADA9-F1E4E6D37FBB}"/>
                </a:ext>
              </a:extLst>
            </p:cNvPr>
            <p:cNvGraphicFramePr>
              <a:graphicFrameLocks/>
            </p:cNvGraphicFramePr>
            <p:nvPr>
              <p:custDataLst>
                <p:tags r:id="rId3"/>
              </p:custDataLst>
              <p:extLst>
                <p:ext uri="{D42A27DB-BD31-4B8C-83A1-F6EECF244321}">
                  <p14:modId xmlns:p14="http://schemas.microsoft.com/office/powerpoint/2010/main" val="1949213427"/>
                </p:ext>
              </p:extLst>
            </p:nvPr>
          </p:nvGraphicFramePr>
          <p:xfrm>
            <a:off x="3447279" y="1059582"/>
            <a:ext cx="2092022" cy="165618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0"/>
            </a:graphicData>
          </a:graphic>
        </p:graphicFrame>
        <p:sp>
          <p:nvSpPr>
            <p:cNvPr id="24" name="矩形 23">
              <a:extLst>
                <a:ext uri="{FF2B5EF4-FFF2-40B4-BE49-F238E27FC236}">
                  <a16:creationId xmlns:a16="http://schemas.microsoft.com/office/drawing/2014/main" id="{0998A3A1-3F45-4537-AF10-DC1B89F7F9F5}"/>
                </a:ext>
              </a:extLst>
            </p:cNvPr>
            <p:cNvSpPr/>
            <p:nvPr/>
          </p:nvSpPr>
          <p:spPr>
            <a:xfrm>
              <a:off x="4112490" y="1599472"/>
              <a:ext cx="904414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2800" b="1" dirty="0">
                  <a:solidFill>
                    <a:schemeClr val="bg1">
                      <a:lumMod val="50000"/>
                    </a:schemeClr>
                  </a:solidFill>
                  <a:cs typeface="+mn-ea"/>
                  <a:sym typeface="+mn-lt"/>
                </a:rPr>
                <a:t>40%</a:t>
              </a:r>
              <a:endParaRPr lang="zh-CN" altLang="en-US" sz="2800" b="1" dirty="0">
                <a:solidFill>
                  <a:schemeClr val="bg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2FD3E336-3FC4-4F0E-AF63-12B1862B2296}"/>
              </a:ext>
            </a:extLst>
          </p:cNvPr>
          <p:cNvGrpSpPr/>
          <p:nvPr/>
        </p:nvGrpSpPr>
        <p:grpSpPr>
          <a:xfrm>
            <a:off x="6255026" y="3130878"/>
            <a:ext cx="2092023" cy="1656184"/>
            <a:chOff x="6019033" y="1059582"/>
            <a:chExt cx="2092022" cy="1656184"/>
          </a:xfrm>
        </p:grpSpPr>
        <p:graphicFrame>
          <p:nvGraphicFramePr>
            <p:cNvPr id="26" name="Chart Placeholder 8">
              <a:extLst>
                <a:ext uri="{FF2B5EF4-FFF2-40B4-BE49-F238E27FC236}">
                  <a16:creationId xmlns:a16="http://schemas.microsoft.com/office/drawing/2014/main" id="{CEA1C72C-346A-4529-9581-0CCCF0059C01}"/>
                </a:ext>
              </a:extLst>
            </p:cNvPr>
            <p:cNvGraphicFramePr>
              <a:graphicFrameLocks/>
            </p:cNvGraphicFramePr>
            <p:nvPr>
              <p:custDataLst>
                <p:tags r:id="rId2"/>
              </p:custDataLst>
              <p:extLst>
                <p:ext uri="{D42A27DB-BD31-4B8C-83A1-F6EECF244321}">
                  <p14:modId xmlns:p14="http://schemas.microsoft.com/office/powerpoint/2010/main" val="188668585"/>
                </p:ext>
              </p:extLst>
            </p:nvPr>
          </p:nvGraphicFramePr>
          <p:xfrm>
            <a:off x="6019033" y="1059582"/>
            <a:ext cx="2092022" cy="165618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1"/>
            </a:graphicData>
          </a:graphic>
        </p:graphicFrame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DC53F29C-72AF-429A-BFC6-D7CE39409F29}"/>
                </a:ext>
              </a:extLst>
            </p:cNvPr>
            <p:cNvSpPr/>
            <p:nvPr/>
          </p:nvSpPr>
          <p:spPr>
            <a:xfrm>
              <a:off x="6706239" y="1599473"/>
              <a:ext cx="904414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2800" b="1" dirty="0">
                  <a:solidFill>
                    <a:schemeClr val="bg1">
                      <a:lumMod val="50000"/>
                    </a:schemeClr>
                  </a:solidFill>
                  <a:cs typeface="+mn-ea"/>
                  <a:sym typeface="+mn-lt"/>
                </a:rPr>
                <a:t>60%</a:t>
              </a:r>
              <a:endParaRPr lang="zh-CN" altLang="en-US" sz="2800" b="1" dirty="0">
                <a:solidFill>
                  <a:schemeClr val="bg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8" name="组合 27">
            <a:extLst>
              <a:ext uri="{FF2B5EF4-FFF2-40B4-BE49-F238E27FC236}">
                <a16:creationId xmlns:a16="http://schemas.microsoft.com/office/drawing/2014/main" id="{91BAF5BD-E2DF-4751-B55B-9C647990A96C}"/>
              </a:ext>
            </a:extLst>
          </p:cNvPr>
          <p:cNvGrpSpPr/>
          <p:nvPr/>
        </p:nvGrpSpPr>
        <p:grpSpPr>
          <a:xfrm>
            <a:off x="8874467" y="3096153"/>
            <a:ext cx="2092023" cy="1656184"/>
            <a:chOff x="6019033" y="1059582"/>
            <a:chExt cx="2092022" cy="1656184"/>
          </a:xfrm>
        </p:grpSpPr>
        <p:graphicFrame>
          <p:nvGraphicFramePr>
            <p:cNvPr id="29" name="Chart Placeholder 8">
              <a:extLst>
                <a:ext uri="{FF2B5EF4-FFF2-40B4-BE49-F238E27FC236}">
                  <a16:creationId xmlns:a16="http://schemas.microsoft.com/office/drawing/2014/main" id="{093DD56A-E318-421D-8C16-6A39ED72EDF2}"/>
                </a:ext>
              </a:extLst>
            </p:cNvPr>
            <p:cNvGraphicFramePr>
              <a:graphicFrameLocks/>
            </p:cNvGraphicFramePr>
            <p:nvPr>
              <p:custDataLst>
                <p:tags r:id="rId1"/>
              </p:custDataLst>
              <p:extLst>
                <p:ext uri="{D42A27DB-BD31-4B8C-83A1-F6EECF244321}">
                  <p14:modId xmlns:p14="http://schemas.microsoft.com/office/powerpoint/2010/main" val="2214730124"/>
                </p:ext>
              </p:extLst>
            </p:nvPr>
          </p:nvGraphicFramePr>
          <p:xfrm>
            <a:off x="6019033" y="1059582"/>
            <a:ext cx="2092022" cy="165618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D59BF15C-21E2-428C-9B2D-CE528C64B2E5}"/>
                </a:ext>
              </a:extLst>
            </p:cNvPr>
            <p:cNvSpPr/>
            <p:nvPr/>
          </p:nvSpPr>
          <p:spPr>
            <a:xfrm>
              <a:off x="6706239" y="1599473"/>
              <a:ext cx="904414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2800" b="1" dirty="0">
                  <a:solidFill>
                    <a:schemeClr val="bg1">
                      <a:lumMod val="50000"/>
                    </a:schemeClr>
                  </a:solidFill>
                  <a:cs typeface="+mn-ea"/>
                  <a:sym typeface="+mn-lt"/>
                </a:rPr>
                <a:t>80%</a:t>
              </a:r>
              <a:endParaRPr lang="zh-CN" altLang="en-US" sz="2800" b="1" dirty="0">
                <a:solidFill>
                  <a:schemeClr val="bg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</p:grpSp>
      <p:sp>
        <p:nvSpPr>
          <p:cNvPr id="31" name="TextBox 13">
            <a:extLst>
              <a:ext uri="{FF2B5EF4-FFF2-40B4-BE49-F238E27FC236}">
                <a16:creationId xmlns:a16="http://schemas.microsoft.com/office/drawing/2014/main" id="{37BC50BD-8508-4E2B-ADF8-050EC2E77721}"/>
              </a:ext>
            </a:extLst>
          </p:cNvPr>
          <p:cNvSpPr txBox="1"/>
          <p:nvPr/>
        </p:nvSpPr>
        <p:spPr>
          <a:xfrm>
            <a:off x="891098" y="2240400"/>
            <a:ext cx="253268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  <a:endParaRPr lang="en-US" altLang="zh-CN" sz="11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85FECE5D-5CE7-47F0-885C-0E84B588B0B8}"/>
              </a:ext>
            </a:extLst>
          </p:cNvPr>
          <p:cNvSpPr/>
          <p:nvPr/>
        </p:nvSpPr>
        <p:spPr>
          <a:xfrm>
            <a:off x="1228437" y="1860528"/>
            <a:ext cx="18002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2000" b="1" dirty="0">
                <a:solidFill>
                  <a:srgbClr val="535353"/>
                </a:solidFill>
                <a:cs typeface="+mn-ea"/>
                <a:sym typeface="+mn-lt"/>
              </a:rPr>
              <a:t>输入标题</a:t>
            </a: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667AD50D-6D13-435A-A0FD-2FF103ADA384}"/>
              </a:ext>
            </a:extLst>
          </p:cNvPr>
          <p:cNvSpPr/>
          <p:nvPr/>
        </p:nvSpPr>
        <p:spPr>
          <a:xfrm>
            <a:off x="3952207" y="4840479"/>
            <a:ext cx="18002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2000" b="1" dirty="0">
                <a:solidFill>
                  <a:srgbClr val="535353"/>
                </a:solidFill>
                <a:cs typeface="+mn-ea"/>
                <a:sym typeface="+mn-lt"/>
              </a:rPr>
              <a:t>输入标题</a:t>
            </a: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2C0E83B6-DCE0-4A4F-8F49-BFB6E795AC4F}"/>
              </a:ext>
            </a:extLst>
          </p:cNvPr>
          <p:cNvSpPr/>
          <p:nvPr/>
        </p:nvSpPr>
        <p:spPr>
          <a:xfrm>
            <a:off x="6452555" y="1855264"/>
            <a:ext cx="18002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2000" b="1" dirty="0">
                <a:solidFill>
                  <a:srgbClr val="535353"/>
                </a:solidFill>
                <a:cs typeface="+mn-ea"/>
                <a:sym typeface="+mn-lt"/>
              </a:rPr>
              <a:t>输入标题</a:t>
            </a: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1CEE18FB-028F-4C65-93D1-395E312B800A}"/>
              </a:ext>
            </a:extLst>
          </p:cNvPr>
          <p:cNvSpPr/>
          <p:nvPr/>
        </p:nvSpPr>
        <p:spPr>
          <a:xfrm>
            <a:off x="9101108" y="4840479"/>
            <a:ext cx="18002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2000" b="1" dirty="0">
                <a:solidFill>
                  <a:srgbClr val="535353"/>
                </a:solidFill>
                <a:cs typeface="+mn-ea"/>
                <a:sym typeface="+mn-lt"/>
              </a:rPr>
              <a:t>输入标题</a:t>
            </a:r>
          </a:p>
        </p:txBody>
      </p:sp>
      <p:sp>
        <p:nvSpPr>
          <p:cNvPr id="36" name="TextBox 13">
            <a:extLst>
              <a:ext uri="{FF2B5EF4-FFF2-40B4-BE49-F238E27FC236}">
                <a16:creationId xmlns:a16="http://schemas.microsoft.com/office/drawing/2014/main" id="{41E3C385-3ABF-4D1C-8F38-74F3A9DC38FB}"/>
              </a:ext>
            </a:extLst>
          </p:cNvPr>
          <p:cNvSpPr txBox="1"/>
          <p:nvPr/>
        </p:nvSpPr>
        <p:spPr>
          <a:xfrm>
            <a:off x="3579489" y="5283073"/>
            <a:ext cx="25628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  <a:endParaRPr lang="en-US" altLang="zh-CN" sz="11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7" name="TextBox 13">
            <a:extLst>
              <a:ext uri="{FF2B5EF4-FFF2-40B4-BE49-F238E27FC236}">
                <a16:creationId xmlns:a16="http://schemas.microsoft.com/office/drawing/2014/main" id="{56164674-54C3-4E4C-A08D-49717606891D}"/>
              </a:ext>
            </a:extLst>
          </p:cNvPr>
          <p:cNvSpPr txBox="1"/>
          <p:nvPr/>
        </p:nvSpPr>
        <p:spPr>
          <a:xfrm>
            <a:off x="6085565" y="2297858"/>
            <a:ext cx="25628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  <a:endParaRPr lang="en-US" altLang="zh-CN" sz="11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8" name="TextBox 13">
            <a:extLst>
              <a:ext uri="{FF2B5EF4-FFF2-40B4-BE49-F238E27FC236}">
                <a16:creationId xmlns:a16="http://schemas.microsoft.com/office/drawing/2014/main" id="{12EA72B7-0D5C-4E7E-A9AE-E8B881BD385A}"/>
              </a:ext>
            </a:extLst>
          </p:cNvPr>
          <p:cNvSpPr txBox="1"/>
          <p:nvPr/>
        </p:nvSpPr>
        <p:spPr>
          <a:xfrm>
            <a:off x="8732480" y="5283073"/>
            <a:ext cx="25628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  <a:endParaRPr lang="en-US" altLang="zh-CN" sz="11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41157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 advClick="0" advTm="0">
        <p14:ripple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 tmFilter="0,0; .5, 1; 1, 1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65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650"/>
                            </p:stCondLst>
                            <p:childTnLst>
                              <p:par>
                                <p:cTn id="2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3150"/>
                            </p:stCondLst>
                            <p:childTnLst>
                              <p:par>
                                <p:cTn id="4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42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6" presetID="42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42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31" grpId="0"/>
      <p:bldP spid="32" grpId="0"/>
      <p:bldP spid="33" grpId="0"/>
      <p:bldP spid="34" grpId="0"/>
      <p:bldP spid="35" grpId="0"/>
      <p:bldP spid="36" grpId="0"/>
      <p:bldP spid="37" grpId="0"/>
      <p:bldP spid="38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3643088-BADE-4B2C-8D16-84C355AB00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4294"/>
            <a:ext cx="12202211" cy="6858000"/>
          </a:xfrm>
          <a:prstGeom prst="rect">
            <a:avLst/>
          </a:prstGeom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7218F93-96F9-462F-BAFB-7E145859AED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99171" y="-99171"/>
            <a:ext cx="1058956" cy="1257300"/>
          </a:xfrm>
          <a:prstGeom prst="rect">
            <a:avLst/>
          </a:prstGeom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EC3E81A0-9853-4F50-A63A-07CECD490F96}"/>
              </a:ext>
            </a:extLst>
          </p:cNvPr>
          <p:cNvSpPr txBox="1"/>
          <p:nvPr/>
        </p:nvSpPr>
        <p:spPr>
          <a:xfrm>
            <a:off x="1367227" y="80984"/>
            <a:ext cx="27918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ART THREE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17F88ED-E918-45C7-8ED4-BD8E20C0EB3A}"/>
              </a:ext>
            </a:extLst>
          </p:cNvPr>
          <p:cNvSpPr txBox="1"/>
          <p:nvPr/>
        </p:nvSpPr>
        <p:spPr>
          <a:xfrm>
            <a:off x="3818698" y="90631"/>
            <a:ext cx="2957124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000" spc="600" dirty="0">
                <a:latin typeface="+mn-lt"/>
                <a:ea typeface="+mn-ea"/>
                <a:cs typeface="+mn-ea"/>
                <a:sym typeface="+mn-lt"/>
              </a:rPr>
              <a:t>教学设计</a:t>
            </a:r>
          </a:p>
        </p:txBody>
      </p:sp>
      <p:sp>
        <p:nvSpPr>
          <p:cNvPr id="6" name="Oval 13">
            <a:extLst>
              <a:ext uri="{FF2B5EF4-FFF2-40B4-BE49-F238E27FC236}">
                <a16:creationId xmlns:a16="http://schemas.microsoft.com/office/drawing/2014/main" id="{FABDF060-14AF-4516-BC4C-EF0232A9F224}"/>
              </a:ext>
            </a:extLst>
          </p:cNvPr>
          <p:cNvSpPr/>
          <p:nvPr/>
        </p:nvSpPr>
        <p:spPr>
          <a:xfrm>
            <a:off x="956953" y="2384840"/>
            <a:ext cx="1792351" cy="1792351"/>
          </a:xfrm>
          <a:prstGeom prst="ellipse">
            <a:avLst/>
          </a:pr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cs typeface="+mn-ea"/>
              <a:sym typeface="+mn-lt"/>
            </a:endParaRPr>
          </a:p>
        </p:txBody>
      </p:sp>
      <p:sp>
        <p:nvSpPr>
          <p:cNvPr id="10" name="Oval 14">
            <a:extLst>
              <a:ext uri="{FF2B5EF4-FFF2-40B4-BE49-F238E27FC236}">
                <a16:creationId xmlns:a16="http://schemas.microsoft.com/office/drawing/2014/main" id="{FA864A67-EE5B-488F-A32C-6CB294E515A7}"/>
              </a:ext>
            </a:extLst>
          </p:cNvPr>
          <p:cNvSpPr/>
          <p:nvPr/>
        </p:nvSpPr>
        <p:spPr>
          <a:xfrm>
            <a:off x="3666938" y="2384840"/>
            <a:ext cx="1792351" cy="1792351"/>
          </a:xfrm>
          <a:prstGeom prst="ellipse">
            <a:avLst/>
          </a:prstGeo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cs typeface="+mn-ea"/>
              <a:sym typeface="+mn-lt"/>
            </a:endParaRPr>
          </a:p>
        </p:txBody>
      </p:sp>
      <p:sp>
        <p:nvSpPr>
          <p:cNvPr id="11" name="Oval 15">
            <a:extLst>
              <a:ext uri="{FF2B5EF4-FFF2-40B4-BE49-F238E27FC236}">
                <a16:creationId xmlns:a16="http://schemas.microsoft.com/office/drawing/2014/main" id="{F7B57394-0D17-4C51-978B-0E98D98840DC}"/>
              </a:ext>
            </a:extLst>
          </p:cNvPr>
          <p:cNvSpPr/>
          <p:nvPr/>
        </p:nvSpPr>
        <p:spPr>
          <a:xfrm>
            <a:off x="6533981" y="2384840"/>
            <a:ext cx="1792351" cy="1792351"/>
          </a:xfrm>
          <a:prstGeom prst="ellipse">
            <a:avLst/>
          </a:pr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cs typeface="+mn-ea"/>
              <a:sym typeface="+mn-lt"/>
            </a:endParaRPr>
          </a:p>
        </p:txBody>
      </p:sp>
      <p:sp>
        <p:nvSpPr>
          <p:cNvPr id="12" name="Oval 16">
            <a:extLst>
              <a:ext uri="{FF2B5EF4-FFF2-40B4-BE49-F238E27FC236}">
                <a16:creationId xmlns:a16="http://schemas.microsoft.com/office/drawing/2014/main" id="{9477AE7F-8374-4D88-BEEB-A2C9900452A7}"/>
              </a:ext>
            </a:extLst>
          </p:cNvPr>
          <p:cNvSpPr/>
          <p:nvPr/>
        </p:nvSpPr>
        <p:spPr>
          <a:xfrm>
            <a:off x="9415373" y="2384840"/>
            <a:ext cx="1792351" cy="1792351"/>
          </a:xfrm>
          <a:prstGeom prst="ellipse">
            <a:avLst/>
          </a:prstGeo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cs typeface="+mn-ea"/>
              <a:sym typeface="+mn-lt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5416332-020A-405D-ADBD-253A287558D7}"/>
              </a:ext>
            </a:extLst>
          </p:cNvPr>
          <p:cNvSpPr txBox="1">
            <a:spLocks/>
          </p:cNvSpPr>
          <p:nvPr/>
        </p:nvSpPr>
        <p:spPr>
          <a:xfrm>
            <a:off x="557928" y="4667308"/>
            <a:ext cx="2549248" cy="1189482"/>
          </a:xfrm>
          <a:prstGeom prst="rect">
            <a:avLst/>
          </a:prstGeom>
        </p:spPr>
        <p:txBody>
          <a:bodyPr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2"/>
                </a:solidFill>
                <a:latin typeface="钟齐陈伟勋硬笔行书字库" panose="02010600030101010101" pitchFamily="2" charset="-122"/>
                <a:ea typeface="+mn-ea"/>
                <a:cs typeface="Dancing Script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133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ea"/>
                <a:sym typeface="+mn-lt"/>
              </a:rPr>
              <a:t>请输入标题</a:t>
            </a:r>
            <a:endParaRPr lang="en-US" sz="2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ea"/>
              <a:sym typeface="+mn-lt"/>
            </a:endParaRPr>
          </a:p>
          <a:p>
            <a:pPr marL="0" indent="0" algn="ctr">
              <a:lnSpc>
                <a:spcPts val="2000"/>
              </a:lnSpc>
              <a:buNone/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51D26FB7-6C3D-4FE7-A5BF-E0CFC152617C}"/>
              </a:ext>
            </a:extLst>
          </p:cNvPr>
          <p:cNvSpPr txBox="1">
            <a:spLocks/>
          </p:cNvSpPr>
          <p:nvPr/>
        </p:nvSpPr>
        <p:spPr>
          <a:xfrm>
            <a:off x="3307461" y="4666238"/>
            <a:ext cx="2579587" cy="1190211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zh-CN"/>
            </a:defPPr>
            <a:lvl1pPr indent="0" algn="ctr" defTabSz="609585">
              <a:spcBef>
                <a:spcPts val="0"/>
              </a:spcBef>
              <a:buFont typeface="Arial"/>
              <a:buNone/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  <a:latin typeface="钟齐陈伟勋硬笔行书字库" panose="02010600030101010101" pitchFamily="2" charset="-122"/>
                <a:cs typeface="Dancing Script"/>
              </a:defRPr>
            </a:lvl1pPr>
            <a:lvl2pPr marL="990575" indent="-380990" defTabSz="609585">
              <a:spcBef>
                <a:spcPct val="20000"/>
              </a:spcBef>
              <a:buFont typeface="Arial"/>
              <a:buChar char="–"/>
              <a:defRPr sz="2667">
                <a:latin typeface="钟齐陈伟勋硬笔行书字库" panose="02010600030101010101" pitchFamily="2" charset="-122"/>
              </a:defRPr>
            </a:lvl2pPr>
            <a:lvl3pPr marL="1523962" indent="-304792" defTabSz="609585">
              <a:spcBef>
                <a:spcPct val="20000"/>
              </a:spcBef>
              <a:buFont typeface="Arial"/>
              <a:buChar char="•"/>
              <a:defRPr sz="2400">
                <a:latin typeface="钟齐陈伟勋硬笔行书字库" panose="02010600030101010101" pitchFamily="2" charset="-122"/>
              </a:defRPr>
            </a:lvl3pPr>
            <a:lvl4pPr marL="2133547" indent="-304792" defTabSz="609585">
              <a:spcBef>
                <a:spcPct val="20000"/>
              </a:spcBef>
              <a:buFont typeface="Arial"/>
              <a:buChar char="–"/>
              <a:defRPr sz="2133">
                <a:latin typeface="钟齐陈伟勋硬笔行书字库" panose="02010600030101010101" pitchFamily="2" charset="-122"/>
              </a:defRPr>
            </a:lvl4pPr>
            <a:lvl5pPr marL="2743131" indent="-304792" defTabSz="609585">
              <a:spcBef>
                <a:spcPct val="20000"/>
              </a:spcBef>
              <a:buFont typeface="Arial"/>
              <a:buChar char="»"/>
              <a:defRPr sz="2133">
                <a:latin typeface="钟齐陈伟勋硬笔行书字库" panose="02010600030101010101" pitchFamily="2" charset="-122"/>
              </a:defRPr>
            </a:lvl5pPr>
            <a:lvl6pPr marL="3352716" indent="-304792" defTabSz="609585">
              <a:spcBef>
                <a:spcPct val="20000"/>
              </a:spcBef>
              <a:buFont typeface="Arial"/>
              <a:buChar char="•"/>
              <a:defRPr sz="2667"/>
            </a:lvl6pPr>
            <a:lvl7pPr marL="3962301" indent="-304792" defTabSz="609585">
              <a:spcBef>
                <a:spcPct val="20000"/>
              </a:spcBef>
              <a:buFont typeface="Arial"/>
              <a:buChar char="•"/>
              <a:defRPr sz="2667"/>
            </a:lvl7pPr>
            <a:lvl8pPr marL="4571886" indent="-304792" defTabSz="609585">
              <a:spcBef>
                <a:spcPct val="20000"/>
              </a:spcBef>
              <a:buFont typeface="Arial"/>
              <a:buChar char="•"/>
              <a:defRPr sz="2667"/>
            </a:lvl8pPr>
            <a:lvl9pPr marL="5181470" indent="-304792" defTabSz="609585">
              <a:spcBef>
                <a:spcPct val="20000"/>
              </a:spcBef>
              <a:buFont typeface="Arial"/>
              <a:buChar char="•"/>
              <a:defRPr sz="2667"/>
            </a:lvl9pPr>
          </a:lstStyle>
          <a:p>
            <a:r>
              <a:rPr lang="zh-CN" altLang="en-US" dirty="0">
                <a:latin typeface="+mn-lt"/>
                <a:cs typeface="+mn-ea"/>
                <a:sym typeface="+mn-lt"/>
              </a:rPr>
              <a:t>请输入标题</a:t>
            </a:r>
            <a:endParaRPr lang="en-US" dirty="0">
              <a:latin typeface="+mn-lt"/>
              <a:cs typeface="+mn-ea"/>
              <a:sym typeface="+mn-lt"/>
            </a:endParaRPr>
          </a:p>
          <a:p>
            <a:pPr>
              <a:lnSpc>
                <a:spcPts val="2000"/>
              </a:lnSpc>
              <a:spcBef>
                <a:spcPct val="20000"/>
              </a:spcBef>
            </a:pPr>
            <a:r>
              <a:rPr lang="zh-CN" altLang="en-US" sz="1200" b="0" dirty="0">
                <a:latin typeface="+mn-lt"/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  <a:endParaRPr lang="en-US" altLang="zh-CN" sz="1200" b="0" dirty="0">
              <a:latin typeface="+mn-lt"/>
              <a:cs typeface="+mn-ea"/>
              <a:sym typeface="+mn-lt"/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979BD42-3256-458E-B2D6-F631DACFFE21}"/>
              </a:ext>
            </a:extLst>
          </p:cNvPr>
          <p:cNvSpPr txBox="1">
            <a:spLocks/>
          </p:cNvSpPr>
          <p:nvPr/>
        </p:nvSpPr>
        <p:spPr>
          <a:xfrm>
            <a:off x="6170064" y="4667309"/>
            <a:ext cx="2549248" cy="1189483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zh-CN"/>
            </a:defPPr>
            <a:lvl1pPr indent="0" algn="ctr" defTabSz="609585">
              <a:spcBef>
                <a:spcPts val="0"/>
              </a:spcBef>
              <a:buFont typeface="Arial"/>
              <a:buNone/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  <a:latin typeface="钟齐陈伟勋硬笔行书字库" panose="02010600030101010101" pitchFamily="2" charset="-122"/>
                <a:cs typeface="Dancing Script"/>
              </a:defRPr>
            </a:lvl1pPr>
            <a:lvl2pPr marL="990575" indent="-380990" defTabSz="609585">
              <a:spcBef>
                <a:spcPct val="20000"/>
              </a:spcBef>
              <a:buFont typeface="Arial"/>
              <a:buChar char="–"/>
              <a:defRPr sz="2667">
                <a:latin typeface="钟齐陈伟勋硬笔行书字库" panose="02010600030101010101" pitchFamily="2" charset="-122"/>
              </a:defRPr>
            </a:lvl2pPr>
            <a:lvl3pPr marL="1523962" indent="-304792" defTabSz="609585">
              <a:spcBef>
                <a:spcPct val="20000"/>
              </a:spcBef>
              <a:buFont typeface="Arial"/>
              <a:buChar char="•"/>
              <a:defRPr sz="2400">
                <a:latin typeface="钟齐陈伟勋硬笔行书字库" panose="02010600030101010101" pitchFamily="2" charset="-122"/>
              </a:defRPr>
            </a:lvl3pPr>
            <a:lvl4pPr marL="2133547" indent="-304792" defTabSz="609585">
              <a:spcBef>
                <a:spcPct val="20000"/>
              </a:spcBef>
              <a:buFont typeface="Arial"/>
              <a:buChar char="–"/>
              <a:defRPr sz="2133">
                <a:latin typeface="钟齐陈伟勋硬笔行书字库" panose="02010600030101010101" pitchFamily="2" charset="-122"/>
              </a:defRPr>
            </a:lvl4pPr>
            <a:lvl5pPr marL="2743131" indent="-304792" defTabSz="609585">
              <a:spcBef>
                <a:spcPct val="20000"/>
              </a:spcBef>
              <a:buFont typeface="Arial"/>
              <a:buChar char="»"/>
              <a:defRPr sz="2133">
                <a:latin typeface="钟齐陈伟勋硬笔行书字库" panose="02010600030101010101" pitchFamily="2" charset="-122"/>
              </a:defRPr>
            </a:lvl5pPr>
            <a:lvl6pPr marL="3352716" indent="-304792" defTabSz="609585">
              <a:spcBef>
                <a:spcPct val="20000"/>
              </a:spcBef>
              <a:buFont typeface="Arial"/>
              <a:buChar char="•"/>
              <a:defRPr sz="2667"/>
            </a:lvl6pPr>
            <a:lvl7pPr marL="3962301" indent="-304792" defTabSz="609585">
              <a:spcBef>
                <a:spcPct val="20000"/>
              </a:spcBef>
              <a:buFont typeface="Arial"/>
              <a:buChar char="•"/>
              <a:defRPr sz="2667"/>
            </a:lvl7pPr>
            <a:lvl8pPr marL="4571886" indent="-304792" defTabSz="609585">
              <a:spcBef>
                <a:spcPct val="20000"/>
              </a:spcBef>
              <a:buFont typeface="Arial"/>
              <a:buChar char="•"/>
              <a:defRPr sz="2667"/>
            </a:lvl8pPr>
            <a:lvl9pPr marL="5181470" indent="-304792" defTabSz="609585">
              <a:spcBef>
                <a:spcPct val="20000"/>
              </a:spcBef>
              <a:buFont typeface="Arial"/>
              <a:buChar char="•"/>
              <a:defRPr sz="2667"/>
            </a:lvl9pPr>
          </a:lstStyle>
          <a:p>
            <a:r>
              <a:rPr lang="zh-CN" altLang="en-US" b="0" dirty="0">
                <a:latin typeface="+mn-lt"/>
                <a:cs typeface="+mn-ea"/>
                <a:sym typeface="+mn-lt"/>
              </a:rPr>
              <a:t>请输入标题</a:t>
            </a:r>
            <a:endParaRPr lang="en-US" sz="1200" b="0" dirty="0">
              <a:latin typeface="+mn-lt"/>
              <a:cs typeface="+mn-ea"/>
              <a:sym typeface="+mn-lt"/>
            </a:endParaRPr>
          </a:p>
          <a:p>
            <a:pPr>
              <a:lnSpc>
                <a:spcPts val="2000"/>
              </a:lnSpc>
              <a:spcBef>
                <a:spcPct val="20000"/>
              </a:spcBef>
            </a:pPr>
            <a:r>
              <a:rPr lang="zh-CN" altLang="en-US" sz="1200" b="0" dirty="0">
                <a:latin typeface="+mn-lt"/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  <a:endParaRPr lang="en-US" altLang="zh-CN" sz="1200" b="0" dirty="0">
              <a:latin typeface="+mn-lt"/>
              <a:cs typeface="+mn-ea"/>
              <a:sym typeface="+mn-lt"/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FA2D1428-2055-40F7-9734-ADEAE671921F}"/>
              </a:ext>
            </a:extLst>
          </p:cNvPr>
          <p:cNvSpPr txBox="1">
            <a:spLocks/>
          </p:cNvSpPr>
          <p:nvPr/>
        </p:nvSpPr>
        <p:spPr>
          <a:xfrm>
            <a:off x="9002329" y="4666238"/>
            <a:ext cx="2617243" cy="1190211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zh-CN"/>
            </a:defPPr>
            <a:lvl1pPr indent="0" algn="ctr" defTabSz="609585">
              <a:spcBef>
                <a:spcPts val="0"/>
              </a:spcBef>
              <a:buFont typeface="Arial"/>
              <a:buNone/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  <a:latin typeface="钟齐陈伟勋硬笔行书字库" panose="02010600030101010101" pitchFamily="2" charset="-122"/>
                <a:cs typeface="Dancing Script"/>
              </a:defRPr>
            </a:lvl1pPr>
            <a:lvl2pPr marL="990575" indent="-380990" defTabSz="609585">
              <a:spcBef>
                <a:spcPct val="20000"/>
              </a:spcBef>
              <a:buFont typeface="Arial"/>
              <a:buChar char="–"/>
              <a:defRPr sz="2667">
                <a:latin typeface="钟齐陈伟勋硬笔行书字库" panose="02010600030101010101" pitchFamily="2" charset="-122"/>
              </a:defRPr>
            </a:lvl2pPr>
            <a:lvl3pPr marL="1523962" indent="-304792" defTabSz="609585">
              <a:spcBef>
                <a:spcPct val="20000"/>
              </a:spcBef>
              <a:buFont typeface="Arial"/>
              <a:buChar char="•"/>
              <a:defRPr sz="2400">
                <a:latin typeface="钟齐陈伟勋硬笔行书字库" panose="02010600030101010101" pitchFamily="2" charset="-122"/>
              </a:defRPr>
            </a:lvl3pPr>
            <a:lvl4pPr marL="2133547" indent="-304792" defTabSz="609585">
              <a:spcBef>
                <a:spcPct val="20000"/>
              </a:spcBef>
              <a:buFont typeface="Arial"/>
              <a:buChar char="–"/>
              <a:defRPr sz="2133">
                <a:latin typeface="钟齐陈伟勋硬笔行书字库" panose="02010600030101010101" pitchFamily="2" charset="-122"/>
              </a:defRPr>
            </a:lvl4pPr>
            <a:lvl5pPr marL="2743131" indent="-304792" defTabSz="609585">
              <a:spcBef>
                <a:spcPct val="20000"/>
              </a:spcBef>
              <a:buFont typeface="Arial"/>
              <a:buChar char="»"/>
              <a:defRPr sz="2133">
                <a:latin typeface="钟齐陈伟勋硬笔行书字库" panose="02010600030101010101" pitchFamily="2" charset="-122"/>
              </a:defRPr>
            </a:lvl5pPr>
            <a:lvl6pPr marL="3352716" indent="-304792" defTabSz="609585">
              <a:spcBef>
                <a:spcPct val="20000"/>
              </a:spcBef>
              <a:buFont typeface="Arial"/>
              <a:buChar char="•"/>
              <a:defRPr sz="2667"/>
            </a:lvl6pPr>
            <a:lvl7pPr marL="3962301" indent="-304792" defTabSz="609585">
              <a:spcBef>
                <a:spcPct val="20000"/>
              </a:spcBef>
              <a:buFont typeface="Arial"/>
              <a:buChar char="•"/>
              <a:defRPr sz="2667"/>
            </a:lvl7pPr>
            <a:lvl8pPr marL="4571886" indent="-304792" defTabSz="609585">
              <a:spcBef>
                <a:spcPct val="20000"/>
              </a:spcBef>
              <a:buFont typeface="Arial"/>
              <a:buChar char="•"/>
              <a:defRPr sz="2667"/>
            </a:lvl8pPr>
            <a:lvl9pPr marL="5181470" indent="-304792" defTabSz="609585">
              <a:spcBef>
                <a:spcPct val="20000"/>
              </a:spcBef>
              <a:buFont typeface="Arial"/>
              <a:buChar char="•"/>
              <a:defRPr sz="2667"/>
            </a:lvl9pPr>
          </a:lstStyle>
          <a:p>
            <a:r>
              <a:rPr lang="zh-CN" altLang="en-US" b="0" dirty="0">
                <a:latin typeface="+mn-lt"/>
                <a:cs typeface="+mn-ea"/>
                <a:sym typeface="+mn-lt"/>
              </a:rPr>
              <a:t>请输入标题</a:t>
            </a:r>
            <a:endParaRPr lang="en-US" sz="1200" b="0" dirty="0">
              <a:latin typeface="+mn-lt"/>
              <a:cs typeface="+mn-ea"/>
              <a:sym typeface="+mn-lt"/>
            </a:endParaRPr>
          </a:p>
          <a:p>
            <a:pPr>
              <a:lnSpc>
                <a:spcPts val="2000"/>
              </a:lnSpc>
              <a:spcBef>
                <a:spcPct val="20000"/>
              </a:spcBef>
            </a:pPr>
            <a:r>
              <a:rPr lang="zh-CN" altLang="en-US" sz="1200" b="0" dirty="0">
                <a:latin typeface="+mn-lt"/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  <a:endParaRPr lang="en-US" altLang="zh-CN" sz="1200" b="0" dirty="0">
              <a:latin typeface="+mn-lt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41911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 advClick="0" advTm="0">
        <p:dissolve/>
      </p:transition>
    </mc:Choice>
    <mc:Fallback xmlns="">
      <p:transition spd="slow" advClick="0" advTm="0">
        <p:dissolv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 tmFilter="0,0; .5, 1; 1, 1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650"/>
                            </p:stCondLst>
                            <p:childTnLst>
                              <p:par>
                                <p:cTn id="21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400"/>
                            </p:stCondLst>
                            <p:childTnLst>
                              <p:par>
                                <p:cTn id="25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150"/>
                            </p:stCondLst>
                            <p:childTnLst>
                              <p:par>
                                <p:cTn id="29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900"/>
                            </p:stCondLst>
                            <p:childTnLst>
                              <p:par>
                                <p:cTn id="33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650"/>
                            </p:stCondLst>
                            <p:childTnLst>
                              <p:par>
                                <p:cTn id="37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900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900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900" decel="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37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900" decel="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6" grpId="0" animBg="1"/>
      <p:bldP spid="10" grpId="0" animBg="1"/>
      <p:bldP spid="11" grpId="0" animBg="1"/>
      <p:bldP spid="12" grpId="0" animBg="1"/>
      <p:bldP spid="13" grpId="0"/>
      <p:bldP spid="14" grpId="0"/>
      <p:bldP spid="15" grpId="0"/>
      <p:bldP spid="16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3643088-BADE-4B2C-8D16-84C355AB00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25203"/>
            <a:ext cx="12202211" cy="6858000"/>
          </a:xfrm>
          <a:prstGeom prst="rect">
            <a:avLst/>
          </a:prstGeom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7218F93-96F9-462F-BAFB-7E145859AED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99171" y="-99171"/>
            <a:ext cx="1058956" cy="1257300"/>
          </a:xfrm>
          <a:prstGeom prst="rect">
            <a:avLst/>
          </a:prstGeom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EC3E81A0-9853-4F50-A63A-07CECD490F96}"/>
              </a:ext>
            </a:extLst>
          </p:cNvPr>
          <p:cNvSpPr txBox="1"/>
          <p:nvPr/>
        </p:nvSpPr>
        <p:spPr>
          <a:xfrm>
            <a:off x="1367227" y="80984"/>
            <a:ext cx="27918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ART THREE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17F88ED-E918-45C7-8ED4-BD8E20C0EB3A}"/>
              </a:ext>
            </a:extLst>
          </p:cNvPr>
          <p:cNvSpPr txBox="1"/>
          <p:nvPr/>
        </p:nvSpPr>
        <p:spPr>
          <a:xfrm>
            <a:off x="3818698" y="90631"/>
            <a:ext cx="2957124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000" spc="600" dirty="0">
                <a:latin typeface="+mn-lt"/>
                <a:ea typeface="+mn-ea"/>
                <a:cs typeface="+mn-ea"/>
                <a:sym typeface="+mn-lt"/>
              </a:rPr>
              <a:t>教学设计</a:t>
            </a:r>
          </a:p>
        </p:txBody>
      </p:sp>
      <p:sp>
        <p:nvSpPr>
          <p:cNvPr id="6" name="任意多边形 35">
            <a:extLst>
              <a:ext uri="{FF2B5EF4-FFF2-40B4-BE49-F238E27FC236}">
                <a16:creationId xmlns:a16="http://schemas.microsoft.com/office/drawing/2014/main" id="{1825F735-596C-4056-A2E4-560B9A0083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84071" y="3134189"/>
            <a:ext cx="1968060" cy="2540922"/>
          </a:xfrm>
          <a:custGeom>
            <a:avLst/>
            <a:gdLst>
              <a:gd name="T0" fmla="*/ 901473 w 1352638"/>
              <a:gd name="T1" fmla="*/ 16 h 1747217"/>
              <a:gd name="T2" fmla="*/ 974192 w 1352638"/>
              <a:gd name="T3" fmla="*/ 31619 h 1747217"/>
              <a:gd name="T4" fmla="*/ 1352550 w 1352638"/>
              <a:gd name="T5" fmla="*/ 423231 h 1747217"/>
              <a:gd name="T6" fmla="*/ 948292 w 1352638"/>
              <a:gd name="T7" fmla="*/ 813428 h 1747217"/>
              <a:gd name="T8" fmla="*/ 945734 w 1352638"/>
              <a:gd name="T9" fmla="*/ 959852 h 1747217"/>
              <a:gd name="T10" fmla="*/ 1312064 w 1352638"/>
              <a:gd name="T11" fmla="*/ 1339012 h 1747217"/>
              <a:gd name="T12" fmla="*/ 920260 w 1352638"/>
              <a:gd name="T13" fmla="*/ 1717186 h 1747217"/>
              <a:gd name="T14" fmla="*/ 773764 w 1352638"/>
              <a:gd name="T15" fmla="*/ 1714631 h 1747217"/>
              <a:gd name="T16" fmla="*/ 29077 w 1352638"/>
              <a:gd name="T17" fmla="*/ 943861 h 1747217"/>
              <a:gd name="T18" fmla="*/ 15 w 1352638"/>
              <a:gd name="T19" fmla="*/ 870119 h 1747217"/>
              <a:gd name="T20" fmla="*/ 31634 w 1352638"/>
              <a:gd name="T21" fmla="*/ 797436 h 1747217"/>
              <a:gd name="T22" fmla="*/ 827695 w 1352638"/>
              <a:gd name="T23" fmla="*/ 29064 h 1747217"/>
              <a:gd name="T24" fmla="*/ 901473 w 1352638"/>
              <a:gd name="T25" fmla="*/ 16 h 174721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352638"/>
              <a:gd name="T40" fmla="*/ 0 h 1747217"/>
              <a:gd name="T41" fmla="*/ 1352638 w 1352638"/>
              <a:gd name="T42" fmla="*/ 1747217 h 1747217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352638" h="1747217">
                <a:moveTo>
                  <a:pt x="901532" y="16"/>
                </a:moveTo>
                <a:cubicBezTo>
                  <a:pt x="928044" y="479"/>
                  <a:pt x="954380" y="11056"/>
                  <a:pt x="974255" y="31637"/>
                </a:cubicBezTo>
                <a:lnTo>
                  <a:pt x="1352638" y="423465"/>
                </a:lnTo>
                <a:lnTo>
                  <a:pt x="948354" y="813878"/>
                </a:lnTo>
                <a:cubicBezTo>
                  <a:pt x="907190" y="853629"/>
                  <a:pt x="906046" y="919221"/>
                  <a:pt x="945796" y="960384"/>
                </a:cubicBezTo>
                <a:lnTo>
                  <a:pt x="1312149" y="1339753"/>
                </a:lnTo>
                <a:lnTo>
                  <a:pt x="920320" y="1718137"/>
                </a:lnTo>
                <a:cubicBezTo>
                  <a:pt x="879157" y="1757888"/>
                  <a:pt x="813565" y="1756743"/>
                  <a:pt x="773814" y="1715580"/>
                </a:cubicBezTo>
                <a:lnTo>
                  <a:pt x="29079" y="944384"/>
                </a:lnTo>
                <a:cubicBezTo>
                  <a:pt x="9203" y="923802"/>
                  <a:pt x="-448" y="897114"/>
                  <a:pt x="15" y="870601"/>
                </a:cubicBezTo>
                <a:cubicBezTo>
                  <a:pt x="478" y="844089"/>
                  <a:pt x="11055" y="817753"/>
                  <a:pt x="31636" y="797878"/>
                </a:cubicBezTo>
                <a:lnTo>
                  <a:pt x="827749" y="29080"/>
                </a:lnTo>
                <a:cubicBezTo>
                  <a:pt x="848331" y="9205"/>
                  <a:pt x="875020" y="-446"/>
                  <a:pt x="901532" y="16"/>
                </a:cubicBezTo>
                <a:close/>
              </a:path>
            </a:pathLst>
          </a:custGeom>
          <a:solidFill>
            <a:srgbClr val="6FCEFE"/>
          </a:solidFill>
          <a:ln>
            <a:noFill/>
          </a:ln>
        </p:spPr>
        <p:txBody>
          <a:bodyPr lIns="216000" tIns="0" rIns="0" bIns="0" anchor="ctr"/>
          <a:lstStyle/>
          <a:p>
            <a:pPr>
              <a:defRPr/>
            </a:pPr>
            <a:r>
              <a:rPr lang="zh-CN" altLang="en-US" b="1" kern="0" dirty="0">
                <a:solidFill>
                  <a:schemeClr val="bg1"/>
                </a:solidFill>
                <a:cs typeface="+mn-ea"/>
                <a:sym typeface="+mn-lt"/>
              </a:rPr>
              <a:t>标题</a:t>
            </a:r>
          </a:p>
        </p:txBody>
      </p:sp>
      <p:sp>
        <p:nvSpPr>
          <p:cNvPr id="10" name="任意多边形 36">
            <a:extLst>
              <a:ext uri="{FF2B5EF4-FFF2-40B4-BE49-F238E27FC236}">
                <a16:creationId xmlns:a16="http://schemas.microsoft.com/office/drawing/2014/main" id="{11622F55-0385-4CAA-B844-61E7811D18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0271" y="1736688"/>
            <a:ext cx="2545540" cy="1956508"/>
          </a:xfrm>
          <a:custGeom>
            <a:avLst/>
            <a:gdLst>
              <a:gd name="T0" fmla="*/ 861672 w 1747878"/>
              <a:gd name="T1" fmla="*/ 0 h 1344614"/>
              <a:gd name="T2" fmla="*/ 934935 w 1747878"/>
              <a:gd name="T3" fmla="*/ 30347 h 1344614"/>
              <a:gd name="T4" fmla="*/ 1717492 w 1747878"/>
              <a:gd name="T5" fmla="*/ 812921 h 1344614"/>
              <a:gd name="T6" fmla="*/ 1717492 w 1747878"/>
              <a:gd name="T7" fmla="*/ 959449 h 1344614"/>
              <a:gd name="T8" fmla="*/ 1332337 w 1747878"/>
              <a:gd name="T9" fmla="*/ 1344613 h 1344614"/>
              <a:gd name="T10" fmla="*/ 934936 w 1747878"/>
              <a:gd name="T11" fmla="*/ 947204 h 1344614"/>
              <a:gd name="T12" fmla="*/ 788411 w 1747878"/>
              <a:gd name="T13" fmla="*/ 947204 h 1344614"/>
              <a:gd name="T14" fmla="*/ 415502 w 1747878"/>
              <a:gd name="T15" fmla="*/ 1320121 h 1344614"/>
              <a:gd name="T16" fmla="*/ 30346 w 1747878"/>
              <a:gd name="T17" fmla="*/ 934956 h 1344614"/>
              <a:gd name="T18" fmla="*/ 30346 w 1747878"/>
              <a:gd name="T19" fmla="*/ 788428 h 1344614"/>
              <a:gd name="T20" fmla="*/ 788410 w 1747878"/>
              <a:gd name="T21" fmla="*/ 30347 h 1344614"/>
              <a:gd name="T22" fmla="*/ 861672 w 1747878"/>
              <a:gd name="T23" fmla="*/ 0 h 134461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747878"/>
              <a:gd name="T37" fmla="*/ 0 h 1344614"/>
              <a:gd name="T38" fmla="*/ 1747878 w 1747878"/>
              <a:gd name="T39" fmla="*/ 1344614 h 134461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747878" h="1344614">
                <a:moveTo>
                  <a:pt x="861692" y="0"/>
                </a:moveTo>
                <a:cubicBezTo>
                  <a:pt x="888209" y="0"/>
                  <a:pt x="914725" y="10116"/>
                  <a:pt x="934956" y="30347"/>
                </a:cubicBezTo>
                <a:lnTo>
                  <a:pt x="1717531" y="812922"/>
                </a:lnTo>
                <a:cubicBezTo>
                  <a:pt x="1757994" y="853385"/>
                  <a:pt x="1757994" y="918988"/>
                  <a:pt x="1717531" y="959450"/>
                </a:cubicBezTo>
                <a:lnTo>
                  <a:pt x="1332367" y="1344614"/>
                </a:lnTo>
                <a:lnTo>
                  <a:pt x="934957" y="947205"/>
                </a:lnTo>
                <a:cubicBezTo>
                  <a:pt x="894494" y="906741"/>
                  <a:pt x="828892" y="906742"/>
                  <a:pt x="788429" y="947205"/>
                </a:cubicBezTo>
                <a:lnTo>
                  <a:pt x="415512" y="1320122"/>
                </a:lnTo>
                <a:lnTo>
                  <a:pt x="30347" y="934957"/>
                </a:lnTo>
                <a:cubicBezTo>
                  <a:pt x="-10116" y="894494"/>
                  <a:pt x="-10116" y="828891"/>
                  <a:pt x="30347" y="788429"/>
                </a:cubicBezTo>
                <a:lnTo>
                  <a:pt x="788428" y="30347"/>
                </a:lnTo>
                <a:cubicBezTo>
                  <a:pt x="808660" y="10115"/>
                  <a:pt x="835176" y="0"/>
                  <a:pt x="861692" y="0"/>
                </a:cubicBezTo>
                <a:close/>
              </a:path>
            </a:pathLst>
          </a:custGeom>
          <a:solidFill>
            <a:srgbClr val="D00000"/>
          </a:solidFill>
          <a:ln>
            <a:noFill/>
          </a:ln>
        </p:spPr>
        <p:txBody>
          <a:bodyPr lIns="0" tIns="0" rIns="0" bIns="216000" anchor="ctr"/>
          <a:lstStyle/>
          <a:p>
            <a:pPr>
              <a:defRPr/>
            </a:pPr>
            <a:r>
              <a:rPr lang="zh-CN" altLang="en-US" b="1" kern="0" dirty="0">
                <a:solidFill>
                  <a:schemeClr val="bg1"/>
                </a:solidFill>
                <a:cs typeface="+mn-ea"/>
                <a:sym typeface="+mn-lt"/>
              </a:rPr>
              <a:t>        </a:t>
            </a:r>
            <a:endParaRPr lang="en-US" altLang="zh-CN" b="1" kern="0" dirty="0">
              <a:solidFill>
                <a:schemeClr val="bg1"/>
              </a:solidFill>
              <a:cs typeface="+mn-ea"/>
              <a:sym typeface="+mn-lt"/>
            </a:endParaRPr>
          </a:p>
          <a:p>
            <a:pPr>
              <a:defRPr/>
            </a:pPr>
            <a:r>
              <a:rPr lang="en-US" altLang="zh-CN" b="1" kern="0" dirty="0">
                <a:solidFill>
                  <a:schemeClr val="bg1"/>
                </a:solidFill>
                <a:cs typeface="+mn-ea"/>
                <a:sym typeface="+mn-lt"/>
              </a:rPr>
              <a:t>  </a:t>
            </a:r>
          </a:p>
          <a:p>
            <a:pPr>
              <a:defRPr/>
            </a:pPr>
            <a:r>
              <a:rPr lang="en-US" altLang="zh-CN" b="1" kern="0" dirty="0">
                <a:solidFill>
                  <a:schemeClr val="bg1"/>
                </a:solidFill>
                <a:cs typeface="+mn-ea"/>
                <a:sym typeface="+mn-lt"/>
              </a:rPr>
              <a:t>     </a:t>
            </a:r>
            <a:r>
              <a:rPr lang="zh-CN" altLang="en-US" b="1" kern="0" dirty="0">
                <a:solidFill>
                  <a:schemeClr val="bg1"/>
                </a:solidFill>
                <a:cs typeface="+mn-ea"/>
                <a:sym typeface="+mn-lt"/>
              </a:rPr>
              <a:t>标题</a:t>
            </a:r>
          </a:p>
        </p:txBody>
      </p:sp>
      <p:sp>
        <p:nvSpPr>
          <p:cNvPr id="11" name="任意多边形 37">
            <a:extLst>
              <a:ext uri="{FF2B5EF4-FFF2-40B4-BE49-F238E27FC236}">
                <a16:creationId xmlns:a16="http://schemas.microsoft.com/office/drawing/2014/main" id="{55C6C84D-3244-4CAB-A2D6-6B8443E2AC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16807" y="1782887"/>
            <a:ext cx="1968060" cy="2543229"/>
          </a:xfrm>
          <a:custGeom>
            <a:avLst/>
            <a:gdLst>
              <a:gd name="T0" fmla="*/ 506068 w 1352638"/>
              <a:gd name="T1" fmla="*/ 15 h 1747216"/>
              <a:gd name="T2" fmla="*/ 578786 w 1352638"/>
              <a:gd name="T3" fmla="*/ 31647 h 1747216"/>
              <a:gd name="T4" fmla="*/ 1323474 w 1352638"/>
              <a:gd name="T5" fmla="*/ 803119 h 1747216"/>
              <a:gd name="T6" fmla="*/ 1352535 w 1352638"/>
              <a:gd name="T7" fmla="*/ 876927 h 1747216"/>
              <a:gd name="T8" fmla="*/ 1320917 w 1352638"/>
              <a:gd name="T9" fmla="*/ 949676 h 1747216"/>
              <a:gd name="T10" fmla="*/ 524855 w 1352638"/>
              <a:gd name="T11" fmla="*/ 1718748 h 1747216"/>
              <a:gd name="T12" fmla="*/ 378358 w 1352638"/>
              <a:gd name="T13" fmla="*/ 1716190 h 1747216"/>
              <a:gd name="T14" fmla="*/ 0 w 1352638"/>
              <a:gd name="T15" fmla="*/ 1324223 h 1747216"/>
              <a:gd name="T16" fmla="*/ 404259 w 1352638"/>
              <a:gd name="T17" fmla="*/ 933670 h 1747216"/>
              <a:gd name="T18" fmla="*/ 406816 w 1352638"/>
              <a:gd name="T19" fmla="*/ 787113 h 1747216"/>
              <a:gd name="T20" fmla="*/ 40487 w 1352638"/>
              <a:gd name="T21" fmla="*/ 407608 h 1747216"/>
              <a:gd name="T22" fmla="*/ 432290 w 1352638"/>
              <a:gd name="T23" fmla="*/ 29089 h 1747216"/>
              <a:gd name="T24" fmla="*/ 506068 w 1352638"/>
              <a:gd name="T25" fmla="*/ 15 h 174721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352638"/>
              <a:gd name="T40" fmla="*/ 0 h 1747216"/>
              <a:gd name="T41" fmla="*/ 1352638 w 1352638"/>
              <a:gd name="T42" fmla="*/ 1747216 h 174721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352638" h="1747216">
                <a:moveTo>
                  <a:pt x="506101" y="15"/>
                </a:moveTo>
                <a:cubicBezTo>
                  <a:pt x="532613" y="478"/>
                  <a:pt x="558949" y="11055"/>
                  <a:pt x="578824" y="31636"/>
                </a:cubicBezTo>
                <a:lnTo>
                  <a:pt x="1323560" y="802833"/>
                </a:lnTo>
                <a:cubicBezTo>
                  <a:pt x="1343435" y="823414"/>
                  <a:pt x="1353086" y="850103"/>
                  <a:pt x="1352623" y="876615"/>
                </a:cubicBezTo>
                <a:cubicBezTo>
                  <a:pt x="1352161" y="903128"/>
                  <a:pt x="1341584" y="929463"/>
                  <a:pt x="1321003" y="949338"/>
                </a:cubicBezTo>
                <a:lnTo>
                  <a:pt x="524889" y="1718136"/>
                </a:lnTo>
                <a:cubicBezTo>
                  <a:pt x="483726" y="1757887"/>
                  <a:pt x="418134" y="1756742"/>
                  <a:pt x="378383" y="1715579"/>
                </a:cubicBezTo>
                <a:lnTo>
                  <a:pt x="0" y="1323752"/>
                </a:lnTo>
                <a:lnTo>
                  <a:pt x="404285" y="933338"/>
                </a:lnTo>
                <a:cubicBezTo>
                  <a:pt x="445448" y="893587"/>
                  <a:pt x="446593" y="827995"/>
                  <a:pt x="406842" y="786833"/>
                </a:cubicBezTo>
                <a:lnTo>
                  <a:pt x="40490" y="407463"/>
                </a:lnTo>
                <a:lnTo>
                  <a:pt x="432318" y="29079"/>
                </a:lnTo>
                <a:cubicBezTo>
                  <a:pt x="452900" y="9204"/>
                  <a:pt x="479589" y="-448"/>
                  <a:pt x="506101" y="15"/>
                </a:cubicBezTo>
                <a:close/>
              </a:path>
            </a:pathLst>
          </a:custGeom>
          <a:solidFill>
            <a:srgbClr val="60A757"/>
          </a:solidFill>
          <a:ln>
            <a:noFill/>
          </a:ln>
        </p:spPr>
        <p:txBody>
          <a:bodyPr lIns="0" tIns="0" rIns="216000" bIns="0" anchor="ctr"/>
          <a:lstStyle/>
          <a:p>
            <a:pPr algn="r">
              <a:defRPr/>
            </a:pPr>
            <a:r>
              <a:rPr lang="zh-CN" altLang="en-US" b="1" kern="0" dirty="0">
                <a:solidFill>
                  <a:schemeClr val="bg1"/>
                </a:solidFill>
                <a:cs typeface="+mn-ea"/>
                <a:sym typeface="+mn-lt"/>
              </a:rPr>
              <a:t>标题</a:t>
            </a:r>
          </a:p>
        </p:txBody>
      </p:sp>
      <p:sp>
        <p:nvSpPr>
          <p:cNvPr id="12" name="任意多边形 38">
            <a:extLst>
              <a:ext uri="{FF2B5EF4-FFF2-40B4-BE49-F238E27FC236}">
                <a16:creationId xmlns:a16="http://schemas.microsoft.com/office/drawing/2014/main" id="{8431EFBE-3D52-4F46-A179-A64A8A8716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83890" y="3771733"/>
            <a:ext cx="2545540" cy="1968060"/>
          </a:xfrm>
          <a:custGeom>
            <a:avLst/>
            <a:gdLst>
              <a:gd name="T0" fmla="*/ 423615 w 1747216"/>
              <a:gd name="T1" fmla="*/ 0 h 1352638"/>
              <a:gd name="T2" fmla="*/ 814167 w 1747216"/>
              <a:gd name="T3" fmla="*/ 404259 h 1352638"/>
              <a:gd name="T4" fmla="*/ 960725 w 1747216"/>
              <a:gd name="T5" fmla="*/ 406816 h 1352638"/>
              <a:gd name="T6" fmla="*/ 1340229 w 1747216"/>
              <a:gd name="T7" fmla="*/ 40487 h 1352638"/>
              <a:gd name="T8" fmla="*/ 1718748 w 1747216"/>
              <a:gd name="T9" fmla="*/ 432290 h 1352638"/>
              <a:gd name="T10" fmla="*/ 1716190 w 1747216"/>
              <a:gd name="T11" fmla="*/ 578786 h 1352638"/>
              <a:gd name="T12" fmla="*/ 944719 w 1747216"/>
              <a:gd name="T13" fmla="*/ 1323474 h 1352638"/>
              <a:gd name="T14" fmla="*/ 870910 w 1747216"/>
              <a:gd name="T15" fmla="*/ 1352535 h 1352638"/>
              <a:gd name="T16" fmla="*/ 798161 w 1747216"/>
              <a:gd name="T17" fmla="*/ 1320917 h 1352638"/>
              <a:gd name="T18" fmla="*/ 29089 w 1747216"/>
              <a:gd name="T19" fmla="*/ 524855 h 1352638"/>
              <a:gd name="T20" fmla="*/ 31647 w 1747216"/>
              <a:gd name="T21" fmla="*/ 378358 h 135263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747216"/>
              <a:gd name="T34" fmla="*/ 0 h 1352638"/>
              <a:gd name="T35" fmla="*/ 1747216 w 1747216"/>
              <a:gd name="T36" fmla="*/ 1352638 h 135263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747216" h="1352638">
                <a:moveTo>
                  <a:pt x="423464" y="0"/>
                </a:moveTo>
                <a:lnTo>
                  <a:pt x="813877" y="404285"/>
                </a:lnTo>
                <a:cubicBezTo>
                  <a:pt x="853628" y="445448"/>
                  <a:pt x="919220" y="446592"/>
                  <a:pt x="960383" y="406842"/>
                </a:cubicBezTo>
                <a:lnTo>
                  <a:pt x="1339752" y="40490"/>
                </a:lnTo>
                <a:lnTo>
                  <a:pt x="1718136" y="432318"/>
                </a:lnTo>
                <a:cubicBezTo>
                  <a:pt x="1757887" y="473481"/>
                  <a:pt x="1756742" y="539074"/>
                  <a:pt x="1715579" y="578824"/>
                </a:cubicBezTo>
                <a:lnTo>
                  <a:pt x="944383" y="1323560"/>
                </a:lnTo>
                <a:cubicBezTo>
                  <a:pt x="923801" y="1343435"/>
                  <a:pt x="897113" y="1353086"/>
                  <a:pt x="870600" y="1352623"/>
                </a:cubicBezTo>
                <a:cubicBezTo>
                  <a:pt x="844088" y="1352161"/>
                  <a:pt x="817752" y="1341584"/>
                  <a:pt x="797877" y="1321003"/>
                </a:cubicBezTo>
                <a:lnTo>
                  <a:pt x="29079" y="524889"/>
                </a:lnTo>
                <a:cubicBezTo>
                  <a:pt x="-10671" y="483726"/>
                  <a:pt x="-9526" y="418134"/>
                  <a:pt x="31636" y="378383"/>
                </a:cubicBezTo>
                <a:lnTo>
                  <a:pt x="423464" y="0"/>
                </a:lnTo>
                <a:close/>
              </a:path>
            </a:pathLst>
          </a:custGeom>
          <a:solidFill>
            <a:srgbClr val="F57B26"/>
          </a:solidFill>
          <a:ln>
            <a:noFill/>
          </a:ln>
        </p:spPr>
        <p:txBody>
          <a:bodyPr lIns="0" tIns="216000" rIns="0" bIns="0" anchor="ctr"/>
          <a:lstStyle/>
          <a:p>
            <a:pPr algn="ctr">
              <a:defRPr/>
            </a:pPr>
            <a:r>
              <a:rPr lang="zh-CN" altLang="en-US" b="1" kern="0" dirty="0">
                <a:solidFill>
                  <a:schemeClr val="bg1"/>
                </a:solidFill>
                <a:cs typeface="+mn-ea"/>
                <a:sym typeface="+mn-lt"/>
              </a:rPr>
              <a:t>            标题</a:t>
            </a:r>
          </a:p>
        </p:txBody>
      </p:sp>
      <p:grpSp>
        <p:nvGrpSpPr>
          <p:cNvPr id="17" name="Group 18">
            <a:extLst>
              <a:ext uri="{FF2B5EF4-FFF2-40B4-BE49-F238E27FC236}">
                <a16:creationId xmlns:a16="http://schemas.microsoft.com/office/drawing/2014/main" id="{1F3CE9EE-67CF-45B3-9CE3-9075DA0EA066}"/>
              </a:ext>
            </a:extLst>
          </p:cNvPr>
          <p:cNvGrpSpPr>
            <a:grpSpLocks/>
          </p:cNvGrpSpPr>
          <p:nvPr/>
        </p:nvGrpSpPr>
        <p:grpSpPr bwMode="auto">
          <a:xfrm>
            <a:off x="5958315" y="1880551"/>
            <a:ext cx="5616651" cy="1394005"/>
            <a:chOff x="0" y="0"/>
            <a:chExt cx="3850501" cy="1396012"/>
          </a:xfrm>
        </p:grpSpPr>
        <p:sp>
          <p:nvSpPr>
            <p:cNvPr id="18" name="文本框 44">
              <a:extLst>
                <a:ext uri="{FF2B5EF4-FFF2-40B4-BE49-F238E27FC236}">
                  <a16:creationId xmlns:a16="http://schemas.microsoft.com/office/drawing/2014/main" id="{E5E21261-0F82-494A-9F91-592BFCF695A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0" y="0"/>
              <a:ext cx="2674843" cy="369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9pPr>
            </a:lstStyle>
            <a:p>
              <a:pPr>
                <a:spcBef>
                  <a:spcPct val="20000"/>
                </a:spcBef>
              </a:pPr>
              <a:r>
                <a:rPr lang="zh-CN" altLang="en-US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单击编辑标题</a:t>
              </a:r>
              <a:endPara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9C62AFF6-C265-4A8E-A7AA-11610B2094C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0" y="353202"/>
              <a:ext cx="3850501" cy="10428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9pPr>
            </a:lstStyle>
            <a:p>
              <a:pPr>
                <a:lnSpc>
                  <a:spcPts val="1800"/>
                </a:lnSpc>
              </a:pPr>
              <a:r>
                <a:rPr lang="zh-CN" altLang="en-US" sz="11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请在此处输入具体描述内容，文字尽量言简意赅，说明意思即可，不必过于繁琐，注意版面的美观度。请在此处输入具体描述内容，文字尽量言简意赅，说明意思即可，不必过于繁琐，注意版面的美观度。</a:t>
              </a:r>
              <a:endParaRPr lang="en-US" altLang="zh-CN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  <a:p>
              <a:pPr>
                <a:lnSpc>
                  <a:spcPts val="2000"/>
                </a:lnSpc>
              </a:pPr>
              <a:endPara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</p:grpSp>
      <p:grpSp>
        <p:nvGrpSpPr>
          <p:cNvPr id="20" name="Group 21">
            <a:extLst>
              <a:ext uri="{FF2B5EF4-FFF2-40B4-BE49-F238E27FC236}">
                <a16:creationId xmlns:a16="http://schemas.microsoft.com/office/drawing/2014/main" id="{988AEE2C-D528-430B-9276-D6ED6E0762BA}"/>
              </a:ext>
            </a:extLst>
          </p:cNvPr>
          <p:cNvGrpSpPr>
            <a:grpSpLocks/>
          </p:cNvGrpSpPr>
          <p:nvPr/>
        </p:nvGrpSpPr>
        <p:grpSpPr bwMode="auto">
          <a:xfrm>
            <a:off x="5958315" y="3307710"/>
            <a:ext cx="5616651" cy="1138122"/>
            <a:chOff x="0" y="0"/>
            <a:chExt cx="5325006" cy="1137830"/>
          </a:xfrm>
        </p:grpSpPr>
        <p:sp>
          <p:nvSpPr>
            <p:cNvPr id="21" name="文本框 47">
              <a:extLst>
                <a:ext uri="{FF2B5EF4-FFF2-40B4-BE49-F238E27FC236}">
                  <a16:creationId xmlns:a16="http://schemas.microsoft.com/office/drawing/2014/main" id="{05AA6CFF-0AC7-488A-9FA3-4A32946290A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0" y="0"/>
              <a:ext cx="2674843" cy="369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9pPr>
            </a:lstStyle>
            <a:p>
              <a:pPr>
                <a:spcBef>
                  <a:spcPct val="20000"/>
                </a:spcBef>
              </a:pPr>
              <a:r>
                <a:rPr lang="zh-CN" altLang="en-US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单击编辑标题</a:t>
              </a:r>
              <a:endPara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D747E4AF-6692-4D13-99DC-C2A0C4E0379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0" y="353201"/>
              <a:ext cx="5325006" cy="7846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zh-CN"/>
              </a:defPPr>
              <a:lvl1pPr>
                <a:lnSpc>
                  <a:spcPts val="1800"/>
                </a:lnSpc>
                <a:defRPr sz="11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</a:defRPr>
              </a:lvl1pPr>
              <a:lvl2pPr marL="742950" indent="-285750">
                <a:defRPr>
                  <a:latin typeface="Calibri" pitchFamily="34" charset="0"/>
                  <a:ea typeface="宋体" pitchFamily="2" charset="-122"/>
                </a:defRPr>
              </a:lvl2pPr>
              <a:lvl3pPr marL="1143000" indent="-228600">
                <a:defRPr>
                  <a:latin typeface="Calibri" pitchFamily="34" charset="0"/>
                  <a:ea typeface="宋体" pitchFamily="2" charset="-122"/>
                </a:defRPr>
              </a:lvl3pPr>
              <a:lvl4pPr marL="1600200" indent="-228600">
                <a:defRPr>
                  <a:latin typeface="Calibri" pitchFamily="34" charset="0"/>
                  <a:ea typeface="宋体" pitchFamily="2" charset="-122"/>
                </a:defRPr>
              </a:lvl4pPr>
              <a:lvl5pPr marL="2057400" indent="-228600">
                <a:defRPr>
                  <a:latin typeface="Calibri" pitchFamily="34" charset="0"/>
                  <a:ea typeface="宋体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latin typeface="Calibri" pitchFamily="34" charset="0"/>
                  <a:ea typeface="宋体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latin typeface="Calibri" pitchFamily="34" charset="0"/>
                  <a:ea typeface="宋体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latin typeface="Calibri" pitchFamily="34" charset="0"/>
                  <a:ea typeface="宋体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latin typeface="Calibri" pitchFamily="34" charset="0"/>
                  <a:ea typeface="宋体" pitchFamily="2" charset="-122"/>
                </a:defRPr>
              </a:lvl9pPr>
            </a:lstStyle>
            <a:p>
              <a:r>
                <a:rPr lang="zh-CN" altLang="en-US" dirty="0">
                  <a:latin typeface="+mn-lt"/>
                  <a:cs typeface="+mn-ea"/>
                  <a:sym typeface="+mn-lt"/>
                </a:rPr>
                <a:t>请在此处输入具体描述内容，文字尽量言简意赅，说明意思即可，不必过于繁琐，注意版面的美观度。请在此处输入具体描述内容，文字尽量言简意赅，说明意思即可，不必过于繁琐，注意版面的美观度。</a:t>
              </a:r>
              <a:endParaRPr lang="en-US" altLang="zh-CN" dirty="0">
                <a:latin typeface="+mn-lt"/>
                <a:cs typeface="+mn-ea"/>
                <a:sym typeface="+mn-lt"/>
              </a:endParaRPr>
            </a:p>
          </p:txBody>
        </p:sp>
      </p:grpSp>
      <p:grpSp>
        <p:nvGrpSpPr>
          <p:cNvPr id="23" name="Group 24">
            <a:extLst>
              <a:ext uri="{FF2B5EF4-FFF2-40B4-BE49-F238E27FC236}">
                <a16:creationId xmlns:a16="http://schemas.microsoft.com/office/drawing/2014/main" id="{76DADF51-8247-4F7A-8D2B-D9EA670842FF}"/>
              </a:ext>
            </a:extLst>
          </p:cNvPr>
          <p:cNvGrpSpPr>
            <a:grpSpLocks/>
          </p:cNvGrpSpPr>
          <p:nvPr/>
        </p:nvGrpSpPr>
        <p:grpSpPr bwMode="auto">
          <a:xfrm>
            <a:off x="5958315" y="4736460"/>
            <a:ext cx="5616651" cy="1138122"/>
            <a:chOff x="0" y="0"/>
            <a:chExt cx="5325006" cy="1137830"/>
          </a:xfrm>
        </p:grpSpPr>
        <p:sp>
          <p:nvSpPr>
            <p:cNvPr id="24" name="文本框 50">
              <a:extLst>
                <a:ext uri="{FF2B5EF4-FFF2-40B4-BE49-F238E27FC236}">
                  <a16:creationId xmlns:a16="http://schemas.microsoft.com/office/drawing/2014/main" id="{6D349355-5356-42D3-A500-0ADA56CF23C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0" y="0"/>
              <a:ext cx="2674843" cy="369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9pPr>
            </a:lstStyle>
            <a:p>
              <a:pPr>
                <a:spcBef>
                  <a:spcPct val="20000"/>
                </a:spcBef>
              </a:pPr>
              <a:r>
                <a:rPr lang="zh-CN" altLang="en-US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单击编辑标题</a:t>
              </a:r>
              <a:endPara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25" name="文本框 14">
              <a:extLst>
                <a:ext uri="{FF2B5EF4-FFF2-40B4-BE49-F238E27FC236}">
                  <a16:creationId xmlns:a16="http://schemas.microsoft.com/office/drawing/2014/main" id="{F60CDA03-D994-46B4-A5C4-A1E94BD4571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0" y="353201"/>
              <a:ext cx="5325006" cy="7846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zh-CN"/>
              </a:defPPr>
              <a:lvl1pPr>
                <a:lnSpc>
                  <a:spcPts val="1800"/>
                </a:lnSpc>
                <a:defRPr sz="11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</a:defRPr>
              </a:lvl1pPr>
              <a:lvl2pPr marL="742950" indent="-285750">
                <a:defRPr>
                  <a:latin typeface="Calibri" pitchFamily="34" charset="0"/>
                  <a:ea typeface="宋体" pitchFamily="2" charset="-122"/>
                </a:defRPr>
              </a:lvl2pPr>
              <a:lvl3pPr marL="1143000" indent="-228600">
                <a:defRPr>
                  <a:latin typeface="Calibri" pitchFamily="34" charset="0"/>
                  <a:ea typeface="宋体" pitchFamily="2" charset="-122"/>
                </a:defRPr>
              </a:lvl3pPr>
              <a:lvl4pPr marL="1600200" indent="-228600">
                <a:defRPr>
                  <a:latin typeface="Calibri" pitchFamily="34" charset="0"/>
                  <a:ea typeface="宋体" pitchFamily="2" charset="-122"/>
                </a:defRPr>
              </a:lvl4pPr>
              <a:lvl5pPr marL="2057400" indent="-228600">
                <a:defRPr>
                  <a:latin typeface="Calibri" pitchFamily="34" charset="0"/>
                  <a:ea typeface="宋体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latin typeface="Calibri" pitchFamily="34" charset="0"/>
                  <a:ea typeface="宋体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latin typeface="Calibri" pitchFamily="34" charset="0"/>
                  <a:ea typeface="宋体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latin typeface="Calibri" pitchFamily="34" charset="0"/>
                  <a:ea typeface="宋体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latin typeface="Calibri" pitchFamily="34" charset="0"/>
                  <a:ea typeface="宋体" pitchFamily="2" charset="-122"/>
                </a:defRPr>
              </a:lvl9pPr>
            </a:lstStyle>
            <a:p>
              <a:r>
                <a:rPr lang="zh-CN" altLang="en-US" dirty="0">
                  <a:latin typeface="+mn-lt"/>
                  <a:cs typeface="+mn-ea"/>
                  <a:sym typeface="+mn-lt"/>
                </a:rPr>
                <a:t>请在此处输入具体描述内容，文字尽量言简意赅，说明意思即可，不必过于繁琐，注意版面的美观度。请在此处输入具体描述内容，文字尽量言简意赅，说明意思即可，不必过于繁琐，注意版面的美观度。</a:t>
              </a:r>
              <a:endParaRPr lang="en-US" altLang="zh-CN" dirty="0">
                <a:latin typeface="+mn-lt"/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72653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400" advClick="0" advTm="0">
        <p14:honeycomb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 tmFilter="0,0; .5, 1; 1, 1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650"/>
                            </p:stCondLst>
                            <p:childTnLst>
                              <p:par>
                                <p:cTn id="2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150"/>
                            </p:stCondLst>
                            <p:childTnLst>
                              <p:par>
                                <p:cTn id="4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2650"/>
                            </p:stCondLst>
                            <p:childTnLst>
                              <p:par>
                                <p:cTn id="4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150"/>
                            </p:stCondLst>
                            <p:childTnLst>
                              <p:par>
                                <p:cTn id="5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6" grpId="0" animBg="1"/>
      <p:bldP spid="10" grpId="0" animBg="1"/>
      <p:bldP spid="11" grpId="0" animBg="1"/>
      <p:bldP spid="12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C6002DE4-0B35-4ACB-96DD-668FCFEE0D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4294"/>
            <a:ext cx="12202211" cy="6858000"/>
          </a:xfrm>
          <a:prstGeom prst="rect">
            <a:avLst/>
          </a:prstGeom>
          <a:ln>
            <a:noFill/>
          </a:ln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0B31D1B4-30DB-4C87-A153-EF6EA5C3DE6E}"/>
              </a:ext>
            </a:extLst>
          </p:cNvPr>
          <p:cNvSpPr/>
          <p:nvPr/>
        </p:nvSpPr>
        <p:spPr>
          <a:xfrm>
            <a:off x="2255573" y="1374674"/>
            <a:ext cx="8352928" cy="4224469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  <a:effectLst>
            <a:outerShdw blurRad="152400" dist="762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cs typeface="+mn-ea"/>
              <a:sym typeface="+mn-lt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0DFD6F58-1456-4565-A7FA-4889094FD26C}"/>
              </a:ext>
            </a:extLst>
          </p:cNvPr>
          <p:cNvSpPr/>
          <p:nvPr/>
        </p:nvSpPr>
        <p:spPr>
          <a:xfrm>
            <a:off x="1679509" y="1374673"/>
            <a:ext cx="7488832" cy="345638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77800" sx="103000" sy="103000" algn="ctr" rotWithShape="0">
              <a:prstClr val="black">
                <a:alpha val="3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DDC0E3D9-958C-4060-B1A9-C07ADD40EEA3}"/>
              </a:ext>
            </a:extLst>
          </p:cNvPr>
          <p:cNvSpPr/>
          <p:nvPr/>
        </p:nvSpPr>
        <p:spPr>
          <a:xfrm>
            <a:off x="7655562" y="605813"/>
            <a:ext cx="2210519" cy="2210518"/>
          </a:xfrm>
          <a:prstGeom prst="rect">
            <a:avLst/>
          </a:prstGeom>
          <a:solidFill>
            <a:srgbClr val="D00000"/>
          </a:solidFill>
          <a:ln>
            <a:noFill/>
          </a:ln>
          <a:effectLst>
            <a:outerShdw blurRad="114300" dist="38100" dir="2700000" sx="101000" sy="101000" algn="tl" rotWithShape="0">
              <a:prstClr val="black">
                <a:alpha val="3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241CF7B9-B014-49C9-96C0-4A630E09C08D}"/>
              </a:ext>
            </a:extLst>
          </p:cNvPr>
          <p:cNvSpPr/>
          <p:nvPr/>
        </p:nvSpPr>
        <p:spPr>
          <a:xfrm>
            <a:off x="1980688" y="3429000"/>
            <a:ext cx="3299221" cy="1384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933" dirty="0">
                <a:solidFill>
                  <a:schemeClr val="bg1"/>
                </a:solidFill>
                <a:cs typeface="+mn-ea"/>
                <a:sym typeface="+mn-lt"/>
              </a:rPr>
              <a:t>OF THIS SCHEME, WE THANK YOU FOR YOUR READING, THE PROPOSAL IS IN WE UNDERSTAND YOUR COMPANY FOR THE RELEVANT REQUIREMENTS, AND PROPOSAL INFORMATION, THIS PAPER DISCUSSES THE SPECIFIC REQUIREMENTS</a:t>
            </a:r>
          </a:p>
        </p:txBody>
      </p:sp>
      <p:sp>
        <p:nvSpPr>
          <p:cNvPr id="18" name="TextBox 18">
            <a:extLst>
              <a:ext uri="{FF2B5EF4-FFF2-40B4-BE49-F238E27FC236}">
                <a16:creationId xmlns:a16="http://schemas.microsoft.com/office/drawing/2014/main" id="{CEE4B56E-805F-42BD-B0BA-A50E9420F11C}"/>
              </a:ext>
            </a:extLst>
          </p:cNvPr>
          <p:cNvSpPr txBox="1"/>
          <p:nvPr/>
        </p:nvSpPr>
        <p:spPr>
          <a:xfrm>
            <a:off x="8174190" y="987799"/>
            <a:ext cx="120009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8000" spc="400">
                <a:solidFill>
                  <a:schemeClr val="bg1"/>
                </a:solidFill>
                <a:latin typeface="Agency FB" panose="020B0503020202020204" pitchFamily="34" charset="0"/>
                <a:cs typeface="+mn-ea"/>
              </a:defRPr>
            </a:lvl1pPr>
          </a:lstStyle>
          <a:p>
            <a:r>
              <a:rPr lang="en-US" altLang="zh-CN" dirty="0">
                <a:sym typeface="+mn-lt"/>
              </a:rPr>
              <a:t>04</a:t>
            </a:r>
            <a:endParaRPr lang="zh-CN" altLang="en-US" dirty="0">
              <a:sym typeface="+mn-lt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23FC91EC-A33E-474B-8946-3468139A7936}"/>
              </a:ext>
            </a:extLst>
          </p:cNvPr>
          <p:cNvSpPr txBox="1"/>
          <p:nvPr/>
        </p:nvSpPr>
        <p:spPr>
          <a:xfrm>
            <a:off x="3397410" y="2198027"/>
            <a:ext cx="3418215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800" spc="600" dirty="0">
                <a:solidFill>
                  <a:srgbClr val="D00000"/>
                </a:solidFill>
                <a:latin typeface="+mn-lt"/>
                <a:ea typeface="+mn-ea"/>
                <a:cs typeface="+mn-ea"/>
                <a:sym typeface="+mn-lt"/>
              </a:rPr>
              <a:t>教学反思</a:t>
            </a: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8E8B6E05-31A9-41F9-80B0-911FDFB1F350}"/>
              </a:ext>
            </a:extLst>
          </p:cNvPr>
          <p:cNvSpPr/>
          <p:nvPr/>
        </p:nvSpPr>
        <p:spPr>
          <a:xfrm>
            <a:off x="2772230" y="3515783"/>
            <a:ext cx="4686031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zh-CN" altLang="en-US" sz="1050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98B2FC46-A089-4BDC-97CB-94226A8A2FE2}"/>
              </a:ext>
            </a:extLst>
          </p:cNvPr>
          <p:cNvSpPr/>
          <p:nvPr/>
        </p:nvSpPr>
        <p:spPr>
          <a:xfrm>
            <a:off x="2657654" y="2796456"/>
            <a:ext cx="49979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TEACHING REFLECTION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4281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 advClick="0" advTm="0">
        <p14:doors dir="vert"/>
      </p:transition>
    </mc:Choice>
    <mc:Fallback xmlns="">
      <p:transition spd="slow" advClick="0" advTm="0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afterEffect" p14:presetBounceEnd="64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4000">
                                          <p:cBhvr additive="base">
                                            <p:cTn id="7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4000">
                                          <p:cBhvr additive="base">
                                            <p:cTn id="8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4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2000">
                                          <p:cBhvr additive="base">
                                            <p:cTn id="11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2000">
                                          <p:cBhvr additive="base">
                                            <p:cTn id="12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15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16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1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22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4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5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6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28" presetID="4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0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1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4" dur="500" tmFilter="0,0; .5, 1; 1, 1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5" fill="hold">
                                <p:stCondLst>
                                  <p:cond delay="4150"/>
                                </p:stCondLst>
                                <p:childTnLst>
                                  <p:par>
                                    <p:cTn id="36" presetID="16" presetClass="entr" presetSubtype="37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38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4650"/>
                                </p:stCondLst>
                                <p:childTnLst>
                                  <p:par>
                                    <p:cTn id="40" presetID="37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10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43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4" dur="900" decel="100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5" dur="100" accel="100000" fill="hold">
                                              <p:stCondLst>
                                                <p:cond delay="90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 animBg="1"/>
          <p:bldP spid="7" grpId="0" animBg="1"/>
          <p:bldP spid="13" grpId="0"/>
          <p:bldP spid="18" grpId="0"/>
          <p:bldP spid="19" grpId="0"/>
          <p:bldP spid="21" grpId="0"/>
          <p:bldP spid="23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1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22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4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5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6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28" presetID="4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0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1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4" dur="500" tmFilter="0,0; .5, 1; 1, 1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5" fill="hold">
                                <p:stCondLst>
                                  <p:cond delay="4150"/>
                                </p:stCondLst>
                                <p:childTnLst>
                                  <p:par>
                                    <p:cTn id="36" presetID="16" presetClass="entr" presetSubtype="37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38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4650"/>
                                </p:stCondLst>
                                <p:childTnLst>
                                  <p:par>
                                    <p:cTn id="40" presetID="37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10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43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4" dur="900" decel="100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5" dur="100" accel="100000" fill="hold">
                                              <p:stCondLst>
                                                <p:cond delay="90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 animBg="1"/>
          <p:bldP spid="7" grpId="0" animBg="1"/>
          <p:bldP spid="13" grpId="0"/>
          <p:bldP spid="18" grpId="0"/>
          <p:bldP spid="19" grpId="0"/>
          <p:bldP spid="21" grpId="0"/>
          <p:bldP spid="23" grpId="0"/>
        </p:bldLst>
      </p:timing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51D13426-E8B1-423C-8E93-BE80157D7D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4294"/>
            <a:ext cx="12202211" cy="6858000"/>
          </a:xfrm>
          <a:prstGeom prst="rect">
            <a:avLst/>
          </a:prstGeom>
          <a:ln>
            <a:noFill/>
          </a:ln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3D9F80FB-CBE3-4852-A9DA-1663E36721BC}"/>
              </a:ext>
            </a:extLst>
          </p:cNvPr>
          <p:cNvSpPr/>
          <p:nvPr/>
        </p:nvSpPr>
        <p:spPr>
          <a:xfrm rot="10800000">
            <a:off x="1928944" y="1290168"/>
            <a:ext cx="10263053" cy="422447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77800" sx="103000" sy="103000" algn="ctr" rotWithShape="0">
              <a:prstClr val="black">
                <a:alpha val="3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BFFA9A78-F1B6-44F8-A607-B12B41B077D9}"/>
              </a:ext>
            </a:extLst>
          </p:cNvPr>
          <p:cNvSpPr txBox="1"/>
          <p:nvPr/>
        </p:nvSpPr>
        <p:spPr>
          <a:xfrm>
            <a:off x="3111549" y="2331271"/>
            <a:ext cx="160054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40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r>
              <a:rPr lang="zh-CN" altLang="en-US" sz="6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ea"/>
                <a:sym typeface="+mn-lt"/>
              </a:rPr>
              <a:t>目 录</a:t>
            </a:r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B5078C30-03E0-48B1-96ED-6013A5360D45}"/>
              </a:ext>
            </a:extLst>
          </p:cNvPr>
          <p:cNvSpPr/>
          <p:nvPr/>
        </p:nvSpPr>
        <p:spPr>
          <a:xfrm>
            <a:off x="5851415" y="2114549"/>
            <a:ext cx="476251" cy="476250"/>
          </a:xfrm>
          <a:prstGeom prst="roundRect">
            <a:avLst/>
          </a:prstGeom>
          <a:noFill/>
          <a:ln w="28575">
            <a:solidFill>
              <a:srgbClr val="60A757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rgbClr val="60A757"/>
                </a:solidFill>
                <a:latin typeface="Agency FB" panose="020B0503020202020204" pitchFamily="34" charset="0"/>
                <a:cs typeface="+mn-ea"/>
                <a:sym typeface="+mn-lt"/>
              </a:rPr>
              <a:t>01</a:t>
            </a:r>
            <a:endParaRPr lang="zh-CN" altLang="en-US" sz="1600" b="1" dirty="0">
              <a:solidFill>
                <a:srgbClr val="60A757"/>
              </a:solidFill>
              <a:latin typeface="Agency FB" panose="020B0503020202020204" pitchFamily="34" charset="0"/>
              <a:cs typeface="+mn-ea"/>
              <a:sym typeface="+mn-lt"/>
            </a:endParaRPr>
          </a:p>
        </p:txBody>
      </p:sp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8F824BBC-4118-4FD3-A083-BA9678A6B97F}"/>
              </a:ext>
            </a:extLst>
          </p:cNvPr>
          <p:cNvSpPr/>
          <p:nvPr/>
        </p:nvSpPr>
        <p:spPr>
          <a:xfrm>
            <a:off x="7002297" y="2120731"/>
            <a:ext cx="476251" cy="476250"/>
          </a:xfrm>
          <a:prstGeom prst="roundRect">
            <a:avLst/>
          </a:prstGeom>
          <a:noFill/>
          <a:ln w="28575">
            <a:solidFill>
              <a:srgbClr val="F57B26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rgbClr val="F57B26"/>
                </a:solidFill>
                <a:latin typeface="Agency FB" panose="020B0503020202020204" pitchFamily="34" charset="0"/>
                <a:cs typeface="+mn-ea"/>
                <a:sym typeface="+mn-lt"/>
              </a:rPr>
              <a:t>02</a:t>
            </a:r>
            <a:endParaRPr lang="zh-CN" altLang="en-US" sz="1600" b="1" dirty="0">
              <a:solidFill>
                <a:srgbClr val="F57B26"/>
              </a:solidFill>
              <a:latin typeface="Agency FB" panose="020B0503020202020204" pitchFamily="34" charset="0"/>
              <a:cs typeface="+mn-ea"/>
              <a:sym typeface="+mn-lt"/>
            </a:endParaRPr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D8C0E27F-E896-4140-AED5-E3930D58FDCD}"/>
              </a:ext>
            </a:extLst>
          </p:cNvPr>
          <p:cNvSpPr/>
          <p:nvPr/>
        </p:nvSpPr>
        <p:spPr>
          <a:xfrm>
            <a:off x="8250535" y="2114549"/>
            <a:ext cx="476251" cy="476250"/>
          </a:xfrm>
          <a:prstGeom prst="roundRect">
            <a:avLst/>
          </a:prstGeom>
          <a:noFill/>
          <a:ln w="28575">
            <a:solidFill>
              <a:srgbClr val="D54839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rgbClr val="D54839"/>
                </a:solidFill>
                <a:latin typeface="Agency FB" panose="020B0503020202020204" pitchFamily="34" charset="0"/>
                <a:cs typeface="+mn-ea"/>
                <a:sym typeface="+mn-lt"/>
              </a:rPr>
              <a:t>03</a:t>
            </a:r>
            <a:endParaRPr lang="zh-CN" altLang="en-US" sz="1600" b="1" dirty="0">
              <a:solidFill>
                <a:srgbClr val="D54839"/>
              </a:solidFill>
              <a:latin typeface="Agency FB" panose="020B0503020202020204" pitchFamily="34" charset="0"/>
              <a:cs typeface="+mn-ea"/>
              <a:sym typeface="+mn-lt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1F1AAF5F-2266-47DA-B9FB-1AC7263D043B}"/>
              </a:ext>
            </a:extLst>
          </p:cNvPr>
          <p:cNvSpPr/>
          <p:nvPr/>
        </p:nvSpPr>
        <p:spPr>
          <a:xfrm>
            <a:off x="9525937" y="2114549"/>
            <a:ext cx="476251" cy="476250"/>
          </a:xfrm>
          <a:prstGeom prst="roundRect">
            <a:avLst/>
          </a:prstGeom>
          <a:noFill/>
          <a:ln w="28575">
            <a:solidFill>
              <a:srgbClr val="6FCEFE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rgbClr val="6FCEFE"/>
                </a:solidFill>
                <a:latin typeface="Agency FB" panose="020B0503020202020204" pitchFamily="34" charset="0"/>
                <a:cs typeface="+mn-ea"/>
                <a:sym typeface="+mn-lt"/>
              </a:rPr>
              <a:t>04</a:t>
            </a:r>
            <a:endParaRPr lang="zh-CN" altLang="en-US" sz="1600" b="1" dirty="0">
              <a:solidFill>
                <a:srgbClr val="6FCEFE"/>
              </a:solidFill>
              <a:latin typeface="Agency FB" panose="020B0503020202020204" pitchFamily="34" charset="0"/>
              <a:cs typeface="+mn-ea"/>
              <a:sym typeface="+mn-lt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B643357B-9B1D-4695-B608-1CCAFC71C9E6}"/>
              </a:ext>
            </a:extLst>
          </p:cNvPr>
          <p:cNvSpPr txBox="1"/>
          <p:nvPr/>
        </p:nvSpPr>
        <p:spPr>
          <a:xfrm>
            <a:off x="5635311" y="2842486"/>
            <a:ext cx="871020" cy="21441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3200" dirty="0">
                <a:solidFill>
                  <a:srgbClr val="60A757"/>
                </a:solidFill>
                <a:latin typeface="+mn-lt"/>
                <a:ea typeface="+mn-ea"/>
                <a:cs typeface="+mn-ea"/>
                <a:sym typeface="+mn-lt"/>
              </a:rPr>
              <a:t>教学分析</a:t>
            </a:r>
          </a:p>
        </p:txBody>
      </p:sp>
      <p:sp>
        <p:nvSpPr>
          <p:cNvPr id="65" name="文本框 64">
            <a:extLst>
              <a:ext uri="{FF2B5EF4-FFF2-40B4-BE49-F238E27FC236}">
                <a16:creationId xmlns:a16="http://schemas.microsoft.com/office/drawing/2014/main" id="{14DFAEE1-F8AF-4CB6-8BEB-BF4C63CC525B}"/>
              </a:ext>
            </a:extLst>
          </p:cNvPr>
          <p:cNvSpPr txBox="1"/>
          <p:nvPr/>
        </p:nvSpPr>
        <p:spPr>
          <a:xfrm>
            <a:off x="8066223" y="2853904"/>
            <a:ext cx="871020" cy="21441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3200" dirty="0">
                <a:solidFill>
                  <a:srgbClr val="D54839"/>
                </a:solidFill>
                <a:latin typeface="+mn-lt"/>
                <a:ea typeface="+mn-ea"/>
                <a:cs typeface="+mn-ea"/>
                <a:sym typeface="+mn-lt"/>
              </a:rPr>
              <a:t>教学过程</a:t>
            </a:r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7C0EFFC0-6EB3-4424-A922-0D40C74CB4F7}"/>
              </a:ext>
            </a:extLst>
          </p:cNvPr>
          <p:cNvSpPr txBox="1"/>
          <p:nvPr/>
        </p:nvSpPr>
        <p:spPr>
          <a:xfrm>
            <a:off x="9328553" y="2854168"/>
            <a:ext cx="871020" cy="21441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3200" dirty="0">
                <a:solidFill>
                  <a:srgbClr val="6FCEFE"/>
                </a:solidFill>
                <a:latin typeface="+mn-lt"/>
                <a:ea typeface="+mn-ea"/>
                <a:cs typeface="+mn-ea"/>
                <a:sym typeface="+mn-lt"/>
              </a:rPr>
              <a:t>教学反思</a:t>
            </a:r>
          </a:p>
        </p:txBody>
      </p:sp>
      <p:sp>
        <p:nvSpPr>
          <p:cNvPr id="68" name="文本框 67">
            <a:extLst>
              <a:ext uri="{FF2B5EF4-FFF2-40B4-BE49-F238E27FC236}">
                <a16:creationId xmlns:a16="http://schemas.microsoft.com/office/drawing/2014/main" id="{87BC75E8-FAD0-4832-89DE-55BB95E8ACC5}"/>
              </a:ext>
            </a:extLst>
          </p:cNvPr>
          <p:cNvSpPr txBox="1"/>
          <p:nvPr/>
        </p:nvSpPr>
        <p:spPr>
          <a:xfrm>
            <a:off x="6830859" y="2851538"/>
            <a:ext cx="871020" cy="21441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3200" dirty="0">
                <a:solidFill>
                  <a:srgbClr val="F57B26"/>
                </a:solidFill>
                <a:latin typeface="+mn-lt"/>
                <a:ea typeface="+mn-ea"/>
                <a:cs typeface="+mn-ea"/>
                <a:sym typeface="+mn-lt"/>
              </a:rPr>
              <a:t>教学设计</a:t>
            </a:r>
          </a:p>
        </p:txBody>
      </p:sp>
      <p:pic>
        <p:nvPicPr>
          <p:cNvPr id="71" name="图片 70">
            <a:extLst>
              <a:ext uri="{FF2B5EF4-FFF2-40B4-BE49-F238E27FC236}">
                <a16:creationId xmlns:a16="http://schemas.microsoft.com/office/drawing/2014/main" id="{18486B74-5810-4F41-A734-D56FE55CED3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23256"/>
            <a:ext cx="3090515" cy="6881255"/>
          </a:xfrm>
          <a:prstGeom prst="rect">
            <a:avLst/>
          </a:prstGeom>
        </p:spPr>
      </p:pic>
      <p:sp>
        <p:nvSpPr>
          <p:cNvPr id="72" name="矩形 71">
            <a:extLst>
              <a:ext uri="{FF2B5EF4-FFF2-40B4-BE49-F238E27FC236}">
                <a16:creationId xmlns:a16="http://schemas.microsoft.com/office/drawing/2014/main" id="{3DF46849-2962-40A2-B2FF-EF1655051869}"/>
              </a:ext>
            </a:extLst>
          </p:cNvPr>
          <p:cNvSpPr/>
          <p:nvPr/>
        </p:nvSpPr>
        <p:spPr>
          <a:xfrm>
            <a:off x="11658463" y="1290169"/>
            <a:ext cx="551575" cy="4224471"/>
          </a:xfrm>
          <a:prstGeom prst="rect">
            <a:avLst/>
          </a:prstGeom>
          <a:solidFill>
            <a:srgbClr val="D00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83246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3000">
        <p14:prism isInverted="1"/>
      </p:transition>
    </mc:Choice>
    <mc:Fallback xmlns="">
      <p:transition spd="slow" advClick="0" advTm="3000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" dur="500"/>
                                            <p:tgtEl>
                                              <p:spTgt spid="7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9" presetID="2" presetClass="entr" presetSubtype="2" fill="hold" grpId="0" nodeType="after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11" dur="2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12" dur="2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3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14" presetID="2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16" dur="500"/>
                                            <p:tgtEl>
                                              <p:spTgt spid="7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18" presetID="42" presetClass="entr" presetSubtype="0" fill="hold" grpId="1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0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2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3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24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6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7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8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9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30" presetID="2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32" dur="500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3" fill="hold">
                                <p:stCondLst>
                                  <p:cond delay="4500"/>
                                </p:stCondLst>
                                <p:childTnLst>
                                  <p:par>
                                    <p:cTn id="34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6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8" dur="50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5000"/>
                                </p:stCondLst>
                                <p:childTnLst>
                                  <p:par>
                                    <p:cTn id="40" presetID="2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42" dur="500"/>
                                            <p:tgtEl>
                                              <p:spTgt spid="6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3" fill="hold">
                                <p:stCondLst>
                                  <p:cond delay="5500"/>
                                </p:stCondLst>
                                <p:childTnLst>
                                  <p:par>
                                    <p:cTn id="44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6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7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8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9" fill="hold">
                                <p:stCondLst>
                                  <p:cond delay="6000"/>
                                </p:stCondLst>
                                <p:childTnLst>
                                  <p:par>
                                    <p:cTn id="50" presetID="2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52" dur="500"/>
                                            <p:tgtEl>
                                              <p:spTgt spid="6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3" fill="hold">
                                <p:stCondLst>
                                  <p:cond delay="6500"/>
                                </p:stCondLst>
                                <p:childTnLst>
                                  <p:par>
                                    <p:cTn id="54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6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7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8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9" fill="hold">
                                <p:stCondLst>
                                  <p:cond delay="7000"/>
                                </p:stCondLst>
                                <p:childTnLst>
                                  <p:par>
                                    <p:cTn id="60" presetID="2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62" dur="500"/>
                                            <p:tgtEl>
                                              <p:spTgt spid="6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/>
          <p:bldP spid="6" grpId="1"/>
          <p:bldP spid="11" grpId="0" animBg="1"/>
          <p:bldP spid="12" grpId="0" animBg="1"/>
          <p:bldP spid="13" grpId="0" animBg="1"/>
          <p:bldP spid="14" grpId="0" animBg="1"/>
          <p:bldP spid="15" grpId="0"/>
          <p:bldP spid="65" grpId="0"/>
          <p:bldP spid="66" grpId="0"/>
          <p:bldP spid="68" grpId="0"/>
          <p:bldP spid="72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" dur="500"/>
                                            <p:tgtEl>
                                              <p:spTgt spid="7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9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2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2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3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14" presetID="2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16" dur="500"/>
                                            <p:tgtEl>
                                              <p:spTgt spid="7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18" presetID="42" presetClass="entr" presetSubtype="0" fill="hold" grpId="1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0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2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3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24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6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7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8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9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30" presetID="2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32" dur="500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3" fill="hold">
                                <p:stCondLst>
                                  <p:cond delay="4500"/>
                                </p:stCondLst>
                                <p:childTnLst>
                                  <p:par>
                                    <p:cTn id="34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6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7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8" dur="50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5000"/>
                                </p:stCondLst>
                                <p:childTnLst>
                                  <p:par>
                                    <p:cTn id="40" presetID="2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42" dur="500"/>
                                            <p:tgtEl>
                                              <p:spTgt spid="6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3" fill="hold">
                                <p:stCondLst>
                                  <p:cond delay="5500"/>
                                </p:stCondLst>
                                <p:childTnLst>
                                  <p:par>
                                    <p:cTn id="44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6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7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8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9" fill="hold">
                                <p:stCondLst>
                                  <p:cond delay="6000"/>
                                </p:stCondLst>
                                <p:childTnLst>
                                  <p:par>
                                    <p:cTn id="50" presetID="2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52" dur="500"/>
                                            <p:tgtEl>
                                              <p:spTgt spid="6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3" fill="hold">
                                <p:stCondLst>
                                  <p:cond delay="6500"/>
                                </p:stCondLst>
                                <p:childTnLst>
                                  <p:par>
                                    <p:cTn id="54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6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7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8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9" fill="hold">
                                <p:stCondLst>
                                  <p:cond delay="7000"/>
                                </p:stCondLst>
                                <p:childTnLst>
                                  <p:par>
                                    <p:cTn id="60" presetID="2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62" dur="500"/>
                                            <p:tgtEl>
                                              <p:spTgt spid="6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/>
          <p:bldP spid="6" grpId="1"/>
          <p:bldP spid="11" grpId="0" animBg="1"/>
          <p:bldP spid="12" grpId="0" animBg="1"/>
          <p:bldP spid="13" grpId="0" animBg="1"/>
          <p:bldP spid="14" grpId="0" animBg="1"/>
          <p:bldP spid="15" grpId="0"/>
          <p:bldP spid="65" grpId="0"/>
          <p:bldP spid="66" grpId="0"/>
          <p:bldP spid="68" grpId="0"/>
          <p:bldP spid="72" grpId="0" animBg="1"/>
        </p:bldLst>
      </p:timing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3643088-BADE-4B2C-8D16-84C355AB00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25203"/>
            <a:ext cx="12202211" cy="6858000"/>
          </a:xfrm>
          <a:prstGeom prst="rect">
            <a:avLst/>
          </a:prstGeom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7218F93-96F9-462F-BAFB-7E145859AED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99171" y="-99171"/>
            <a:ext cx="1058956" cy="1257300"/>
          </a:xfrm>
          <a:prstGeom prst="rect">
            <a:avLst/>
          </a:prstGeom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EC3E81A0-9853-4F50-A63A-07CECD490F96}"/>
              </a:ext>
            </a:extLst>
          </p:cNvPr>
          <p:cNvSpPr txBox="1"/>
          <p:nvPr/>
        </p:nvSpPr>
        <p:spPr>
          <a:xfrm>
            <a:off x="1367227" y="80984"/>
            <a:ext cx="24514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ART FOUR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17F88ED-E918-45C7-8ED4-BD8E20C0EB3A}"/>
              </a:ext>
            </a:extLst>
          </p:cNvPr>
          <p:cNvSpPr txBox="1"/>
          <p:nvPr/>
        </p:nvSpPr>
        <p:spPr>
          <a:xfrm>
            <a:off x="3583563" y="90631"/>
            <a:ext cx="2957124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000" spc="600" dirty="0">
                <a:latin typeface="+mn-lt"/>
                <a:ea typeface="+mn-ea"/>
                <a:cs typeface="+mn-ea"/>
                <a:sym typeface="+mn-lt"/>
              </a:rPr>
              <a:t>教学反思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9873D27F-C381-4667-8DFD-AF65EE884426}"/>
              </a:ext>
            </a:extLst>
          </p:cNvPr>
          <p:cNvSpPr txBox="1">
            <a:spLocks/>
          </p:cNvSpPr>
          <p:nvPr/>
        </p:nvSpPr>
        <p:spPr>
          <a:xfrm>
            <a:off x="2298498" y="2466440"/>
            <a:ext cx="3018229" cy="841609"/>
          </a:xfrm>
          <a:prstGeom prst="rect">
            <a:avLst/>
          </a:prstGeom>
        </p:spPr>
        <p:txBody>
          <a:bodyPr>
            <a:norm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2"/>
                </a:solidFill>
                <a:latin typeface="钟齐陈伟勋硬笔行书字库" panose="02010600030101010101" pitchFamily="2" charset="-122"/>
                <a:ea typeface="+mn-ea"/>
                <a:cs typeface="Dancing Script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133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800"/>
              </a:lnSpc>
              <a:buNone/>
            </a:pPr>
            <a:r>
              <a:rPr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  <a:endParaRPr lang="en-US" altLang="zh-CN" sz="11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A76CED7F-80BE-4A84-A869-E8EFF5F1DA80}"/>
              </a:ext>
            </a:extLst>
          </p:cNvPr>
          <p:cNvSpPr txBox="1">
            <a:spLocks/>
          </p:cNvSpPr>
          <p:nvPr/>
        </p:nvSpPr>
        <p:spPr>
          <a:xfrm>
            <a:off x="4554947" y="4777211"/>
            <a:ext cx="2844327" cy="1229407"/>
          </a:xfrm>
          <a:prstGeom prst="rect">
            <a:avLst/>
          </a:prstGeom>
        </p:spPr>
        <p:txBody>
          <a:bodyPr>
            <a:normAutofit/>
          </a:bodyPr>
          <a:lstStyle>
            <a:defPPr>
              <a:defRPr lang="zh-CN"/>
            </a:defPPr>
            <a:lvl1pPr indent="0" defTabSz="609585">
              <a:lnSpc>
                <a:spcPts val="1800"/>
              </a:lnSpc>
              <a:spcBef>
                <a:spcPct val="20000"/>
              </a:spcBef>
              <a:buFont typeface="Arial"/>
              <a:buNone/>
              <a:defRPr sz="110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Dancing Script"/>
              </a:defRPr>
            </a:lvl1pPr>
            <a:lvl2pPr marL="990575" indent="-380990" defTabSz="609585">
              <a:spcBef>
                <a:spcPct val="20000"/>
              </a:spcBef>
              <a:buFont typeface="Arial"/>
              <a:buChar char="–"/>
              <a:defRPr sz="2667">
                <a:latin typeface="钟齐陈伟勋硬笔行书字库" panose="02010600030101010101" pitchFamily="2" charset="-122"/>
              </a:defRPr>
            </a:lvl2pPr>
            <a:lvl3pPr marL="1523962" indent="-304792" defTabSz="609585">
              <a:spcBef>
                <a:spcPct val="20000"/>
              </a:spcBef>
              <a:buFont typeface="Arial"/>
              <a:buChar char="•"/>
              <a:defRPr sz="2400">
                <a:latin typeface="钟齐陈伟勋硬笔行书字库" panose="02010600030101010101" pitchFamily="2" charset="-122"/>
              </a:defRPr>
            </a:lvl3pPr>
            <a:lvl4pPr marL="2133547" indent="-304792" defTabSz="609585">
              <a:spcBef>
                <a:spcPct val="20000"/>
              </a:spcBef>
              <a:buFont typeface="Arial"/>
              <a:buChar char="–"/>
              <a:defRPr sz="2133">
                <a:latin typeface="钟齐陈伟勋硬笔行书字库" panose="02010600030101010101" pitchFamily="2" charset="-122"/>
              </a:defRPr>
            </a:lvl4pPr>
            <a:lvl5pPr marL="2743131" indent="-304792" defTabSz="609585">
              <a:spcBef>
                <a:spcPct val="20000"/>
              </a:spcBef>
              <a:buFont typeface="Arial"/>
              <a:buChar char="»"/>
              <a:defRPr sz="2133">
                <a:latin typeface="钟齐陈伟勋硬笔行书字库" panose="02010600030101010101" pitchFamily="2" charset="-122"/>
              </a:defRPr>
            </a:lvl5pPr>
            <a:lvl6pPr marL="3352716" indent="-304792" defTabSz="609585">
              <a:spcBef>
                <a:spcPct val="20000"/>
              </a:spcBef>
              <a:buFont typeface="Arial"/>
              <a:buChar char="•"/>
              <a:defRPr sz="2667"/>
            </a:lvl6pPr>
            <a:lvl7pPr marL="3962301" indent="-304792" defTabSz="609585">
              <a:spcBef>
                <a:spcPct val="20000"/>
              </a:spcBef>
              <a:buFont typeface="Arial"/>
              <a:buChar char="•"/>
              <a:defRPr sz="2667"/>
            </a:lvl7pPr>
            <a:lvl8pPr marL="4571886" indent="-304792" defTabSz="609585">
              <a:spcBef>
                <a:spcPct val="20000"/>
              </a:spcBef>
              <a:buFont typeface="Arial"/>
              <a:buChar char="•"/>
              <a:defRPr sz="2667"/>
            </a:lvl8pPr>
            <a:lvl9pPr marL="5181470" indent="-304792" defTabSz="609585">
              <a:spcBef>
                <a:spcPct val="20000"/>
              </a:spcBef>
              <a:buFont typeface="Arial"/>
              <a:buChar char="•"/>
              <a:defRPr sz="2667"/>
            </a:lvl9pPr>
          </a:lstStyle>
          <a:p>
            <a:r>
              <a:rPr lang="zh-CN" altLang="en-US" dirty="0">
                <a:latin typeface="+mn-lt"/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  <a:endParaRPr lang="en-US" altLang="zh-CN" dirty="0">
              <a:latin typeface="+mn-lt"/>
              <a:cs typeface="+mn-ea"/>
              <a:sym typeface="+mn-lt"/>
            </a:endParaRPr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E91F1758-BC4F-4E56-B322-8E881694B9DB}"/>
              </a:ext>
            </a:extLst>
          </p:cNvPr>
          <p:cNvSpPr txBox="1">
            <a:spLocks/>
          </p:cNvSpPr>
          <p:nvPr/>
        </p:nvSpPr>
        <p:spPr>
          <a:xfrm>
            <a:off x="2312511" y="1987366"/>
            <a:ext cx="2481519" cy="515165"/>
          </a:xfrm>
          <a:prstGeom prst="rect">
            <a:avLst/>
          </a:prstGeom>
        </p:spPr>
        <p:txBody>
          <a:bodyPr>
            <a:norm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2"/>
                </a:solidFill>
                <a:latin typeface="钟齐陈伟勋硬笔行书字库" panose="02010600030101010101" pitchFamily="2" charset="-122"/>
                <a:ea typeface="+mn-ea"/>
                <a:cs typeface="Dancing Script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133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ea"/>
                <a:sym typeface="+mn-lt"/>
              </a:rPr>
              <a:t>请输入标题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0F6BEDC1-FD83-47EB-A291-7671A3B0C792}"/>
              </a:ext>
            </a:extLst>
          </p:cNvPr>
          <p:cNvSpPr txBox="1">
            <a:spLocks/>
          </p:cNvSpPr>
          <p:nvPr/>
        </p:nvSpPr>
        <p:spPr>
          <a:xfrm>
            <a:off x="4634000" y="4332091"/>
            <a:ext cx="2300489" cy="639763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2"/>
                </a:solidFill>
                <a:latin typeface="钟齐陈伟勋硬笔行书字库" panose="02010600030101010101" pitchFamily="2" charset="-122"/>
                <a:ea typeface="+mn-ea"/>
                <a:cs typeface="Dancing Script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133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ea"/>
                <a:sym typeface="+mn-lt"/>
              </a:rPr>
              <a:t>请输入标题</a:t>
            </a:r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ea"/>
              <a:sym typeface="+mn-lt"/>
            </a:endParaRPr>
          </a:p>
        </p:txBody>
      </p:sp>
      <p:cxnSp>
        <p:nvCxnSpPr>
          <p:cNvPr id="30" name="Straight Connector 17">
            <a:extLst>
              <a:ext uri="{FF2B5EF4-FFF2-40B4-BE49-F238E27FC236}">
                <a16:creationId xmlns:a16="http://schemas.microsoft.com/office/drawing/2014/main" id="{E415B550-C009-4172-AA21-9A87275F3333}"/>
              </a:ext>
            </a:extLst>
          </p:cNvPr>
          <p:cNvCxnSpPr/>
          <p:nvPr/>
        </p:nvCxnSpPr>
        <p:spPr>
          <a:xfrm>
            <a:off x="0" y="3720935"/>
            <a:ext cx="1219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1" name="Group 21">
            <a:extLst>
              <a:ext uri="{FF2B5EF4-FFF2-40B4-BE49-F238E27FC236}">
                <a16:creationId xmlns:a16="http://schemas.microsoft.com/office/drawing/2014/main" id="{58B5D600-0DB6-45F3-95A9-E76D77E9C86C}"/>
              </a:ext>
            </a:extLst>
          </p:cNvPr>
          <p:cNvGrpSpPr/>
          <p:nvPr/>
        </p:nvGrpSpPr>
        <p:grpSpPr>
          <a:xfrm>
            <a:off x="1021201" y="2108343"/>
            <a:ext cx="1113507" cy="1613652"/>
            <a:chOff x="765900" y="1511808"/>
            <a:chExt cx="835130" cy="1210239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grpSpPr>
        <p:cxnSp>
          <p:nvCxnSpPr>
            <p:cNvPr id="32" name="Straight Connector 19">
              <a:extLst>
                <a:ext uri="{FF2B5EF4-FFF2-40B4-BE49-F238E27FC236}">
                  <a16:creationId xmlns:a16="http://schemas.microsoft.com/office/drawing/2014/main" id="{4C6FD01B-4137-4E01-B1C9-2C9ED32B95CA}"/>
                </a:ext>
              </a:extLst>
            </p:cNvPr>
            <p:cNvCxnSpPr>
              <a:cxnSpLocks/>
              <a:endCxn id="33" idx="4"/>
            </p:cNvCxnSpPr>
            <p:nvPr/>
          </p:nvCxnSpPr>
          <p:spPr>
            <a:xfrm rot="5400000" flipH="1" flipV="1">
              <a:off x="996308" y="2534096"/>
              <a:ext cx="374315" cy="1588"/>
            </a:xfrm>
            <a:prstGeom prst="line">
              <a:avLst/>
            </a:prstGeom>
            <a:grpFill/>
            <a:ln w="12700" cmpd="sng">
              <a:solidFill>
                <a:srgbClr val="60A757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Oval 20">
              <a:extLst>
                <a:ext uri="{FF2B5EF4-FFF2-40B4-BE49-F238E27FC236}">
                  <a16:creationId xmlns:a16="http://schemas.microsoft.com/office/drawing/2014/main" id="{824B1809-04F4-4C89-A6D6-BD9E200EE61B}"/>
                </a:ext>
              </a:extLst>
            </p:cNvPr>
            <p:cNvSpPr/>
            <p:nvPr/>
          </p:nvSpPr>
          <p:spPr>
            <a:xfrm>
              <a:off x="765900" y="1511808"/>
              <a:ext cx="835130" cy="835130"/>
            </a:xfrm>
            <a:prstGeom prst="ellipse">
              <a:avLst/>
            </a:pr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12700" cmpd="sng">
              <a:solidFill>
                <a:srgbClr val="60A757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</p:grp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841476CE-8D35-4A2F-B0E8-14C2C3C75139}"/>
              </a:ext>
            </a:extLst>
          </p:cNvPr>
          <p:cNvSpPr txBox="1">
            <a:spLocks/>
          </p:cNvSpPr>
          <p:nvPr/>
        </p:nvSpPr>
        <p:spPr>
          <a:xfrm>
            <a:off x="7020062" y="2466440"/>
            <a:ext cx="3062183" cy="841609"/>
          </a:xfrm>
          <a:prstGeom prst="rect">
            <a:avLst/>
          </a:prstGeom>
        </p:spPr>
        <p:txBody>
          <a:bodyPr>
            <a:normAutofit/>
          </a:bodyPr>
          <a:lstStyle>
            <a:defPPr>
              <a:defRPr lang="zh-CN"/>
            </a:defPPr>
            <a:lvl1pPr indent="0" defTabSz="609585">
              <a:lnSpc>
                <a:spcPts val="1800"/>
              </a:lnSpc>
              <a:spcBef>
                <a:spcPct val="20000"/>
              </a:spcBef>
              <a:buFont typeface="Arial"/>
              <a:buNone/>
              <a:defRPr sz="110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Dancing Script"/>
              </a:defRPr>
            </a:lvl1pPr>
            <a:lvl2pPr marL="990575" indent="-380990" defTabSz="609585">
              <a:spcBef>
                <a:spcPct val="20000"/>
              </a:spcBef>
              <a:buFont typeface="Arial"/>
              <a:buChar char="–"/>
              <a:defRPr sz="2667">
                <a:latin typeface="钟齐陈伟勋硬笔行书字库" panose="02010600030101010101" pitchFamily="2" charset="-122"/>
              </a:defRPr>
            </a:lvl2pPr>
            <a:lvl3pPr marL="1523962" indent="-304792" defTabSz="609585">
              <a:spcBef>
                <a:spcPct val="20000"/>
              </a:spcBef>
              <a:buFont typeface="Arial"/>
              <a:buChar char="•"/>
              <a:defRPr sz="2400">
                <a:latin typeface="钟齐陈伟勋硬笔行书字库" panose="02010600030101010101" pitchFamily="2" charset="-122"/>
              </a:defRPr>
            </a:lvl3pPr>
            <a:lvl4pPr marL="2133547" indent="-304792" defTabSz="609585">
              <a:spcBef>
                <a:spcPct val="20000"/>
              </a:spcBef>
              <a:buFont typeface="Arial"/>
              <a:buChar char="–"/>
              <a:defRPr sz="2133">
                <a:latin typeface="钟齐陈伟勋硬笔行书字库" panose="02010600030101010101" pitchFamily="2" charset="-122"/>
              </a:defRPr>
            </a:lvl4pPr>
            <a:lvl5pPr marL="2743131" indent="-304792" defTabSz="609585">
              <a:spcBef>
                <a:spcPct val="20000"/>
              </a:spcBef>
              <a:buFont typeface="Arial"/>
              <a:buChar char="»"/>
              <a:defRPr sz="2133">
                <a:latin typeface="钟齐陈伟勋硬笔行书字库" panose="02010600030101010101" pitchFamily="2" charset="-122"/>
              </a:defRPr>
            </a:lvl5pPr>
            <a:lvl6pPr marL="3352716" indent="-304792" defTabSz="609585">
              <a:spcBef>
                <a:spcPct val="20000"/>
              </a:spcBef>
              <a:buFont typeface="Arial"/>
              <a:buChar char="•"/>
              <a:defRPr sz="2667"/>
            </a:lvl6pPr>
            <a:lvl7pPr marL="3962301" indent="-304792" defTabSz="609585">
              <a:spcBef>
                <a:spcPct val="20000"/>
              </a:spcBef>
              <a:buFont typeface="Arial"/>
              <a:buChar char="•"/>
              <a:defRPr sz="2667"/>
            </a:lvl7pPr>
            <a:lvl8pPr marL="4571886" indent="-304792" defTabSz="609585">
              <a:spcBef>
                <a:spcPct val="20000"/>
              </a:spcBef>
              <a:buFont typeface="Arial"/>
              <a:buChar char="•"/>
              <a:defRPr sz="2667"/>
            </a:lvl8pPr>
            <a:lvl9pPr marL="5181470" indent="-304792" defTabSz="609585">
              <a:spcBef>
                <a:spcPct val="20000"/>
              </a:spcBef>
              <a:buFont typeface="Arial"/>
              <a:buChar char="•"/>
              <a:defRPr sz="2667"/>
            </a:lvl9pPr>
          </a:lstStyle>
          <a:p>
            <a:r>
              <a:rPr lang="zh-CN" altLang="en-US" dirty="0">
                <a:latin typeface="+mn-lt"/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  <a:endParaRPr lang="en-US" altLang="zh-CN" dirty="0">
              <a:latin typeface="+mn-lt"/>
              <a:cs typeface="+mn-ea"/>
              <a:sym typeface="+mn-lt"/>
            </a:endParaRP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70CB0300-23F3-4306-AC79-3F6016DCD989}"/>
              </a:ext>
            </a:extLst>
          </p:cNvPr>
          <p:cNvSpPr txBox="1">
            <a:spLocks/>
          </p:cNvSpPr>
          <p:nvPr/>
        </p:nvSpPr>
        <p:spPr>
          <a:xfrm>
            <a:off x="9121320" y="4816629"/>
            <a:ext cx="2908664" cy="1421825"/>
          </a:xfrm>
          <a:prstGeom prst="rect">
            <a:avLst/>
          </a:prstGeom>
        </p:spPr>
        <p:txBody>
          <a:bodyPr>
            <a:normAutofit/>
          </a:bodyPr>
          <a:lstStyle>
            <a:defPPr>
              <a:defRPr lang="zh-CN"/>
            </a:defPPr>
            <a:lvl1pPr indent="0" defTabSz="609585">
              <a:lnSpc>
                <a:spcPts val="1800"/>
              </a:lnSpc>
              <a:spcBef>
                <a:spcPct val="20000"/>
              </a:spcBef>
              <a:buFont typeface="Arial"/>
              <a:buNone/>
              <a:defRPr sz="110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Dancing Script"/>
              </a:defRPr>
            </a:lvl1pPr>
            <a:lvl2pPr marL="990575" indent="-380990" defTabSz="609585">
              <a:spcBef>
                <a:spcPct val="20000"/>
              </a:spcBef>
              <a:buFont typeface="Arial"/>
              <a:buChar char="–"/>
              <a:defRPr sz="2667">
                <a:latin typeface="钟齐陈伟勋硬笔行书字库" panose="02010600030101010101" pitchFamily="2" charset="-122"/>
              </a:defRPr>
            </a:lvl2pPr>
            <a:lvl3pPr marL="1523962" indent="-304792" defTabSz="609585">
              <a:spcBef>
                <a:spcPct val="20000"/>
              </a:spcBef>
              <a:buFont typeface="Arial"/>
              <a:buChar char="•"/>
              <a:defRPr sz="2400">
                <a:latin typeface="钟齐陈伟勋硬笔行书字库" panose="02010600030101010101" pitchFamily="2" charset="-122"/>
              </a:defRPr>
            </a:lvl3pPr>
            <a:lvl4pPr marL="2133547" indent="-304792" defTabSz="609585">
              <a:spcBef>
                <a:spcPct val="20000"/>
              </a:spcBef>
              <a:buFont typeface="Arial"/>
              <a:buChar char="–"/>
              <a:defRPr sz="2133">
                <a:latin typeface="钟齐陈伟勋硬笔行书字库" panose="02010600030101010101" pitchFamily="2" charset="-122"/>
              </a:defRPr>
            </a:lvl4pPr>
            <a:lvl5pPr marL="2743131" indent="-304792" defTabSz="609585">
              <a:spcBef>
                <a:spcPct val="20000"/>
              </a:spcBef>
              <a:buFont typeface="Arial"/>
              <a:buChar char="»"/>
              <a:defRPr sz="2133">
                <a:latin typeface="钟齐陈伟勋硬笔行书字库" panose="02010600030101010101" pitchFamily="2" charset="-122"/>
              </a:defRPr>
            </a:lvl5pPr>
            <a:lvl6pPr marL="3352716" indent="-304792" defTabSz="609585">
              <a:spcBef>
                <a:spcPct val="20000"/>
              </a:spcBef>
              <a:buFont typeface="Arial"/>
              <a:buChar char="•"/>
              <a:defRPr sz="2667"/>
            </a:lvl6pPr>
            <a:lvl7pPr marL="3962301" indent="-304792" defTabSz="609585">
              <a:spcBef>
                <a:spcPct val="20000"/>
              </a:spcBef>
              <a:buFont typeface="Arial"/>
              <a:buChar char="•"/>
              <a:defRPr sz="2667"/>
            </a:lvl7pPr>
            <a:lvl8pPr marL="4571886" indent="-304792" defTabSz="609585">
              <a:spcBef>
                <a:spcPct val="20000"/>
              </a:spcBef>
              <a:buFont typeface="Arial"/>
              <a:buChar char="•"/>
              <a:defRPr sz="2667"/>
            </a:lvl8pPr>
            <a:lvl9pPr marL="5181470" indent="-304792" defTabSz="609585">
              <a:spcBef>
                <a:spcPct val="20000"/>
              </a:spcBef>
              <a:buFont typeface="Arial"/>
              <a:buChar char="•"/>
              <a:defRPr sz="2667"/>
            </a:lvl9pPr>
          </a:lstStyle>
          <a:p>
            <a:r>
              <a:rPr lang="zh-CN" altLang="en-US" dirty="0">
                <a:latin typeface="+mn-lt"/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  <a:endParaRPr lang="en-US" altLang="zh-CN" dirty="0">
              <a:latin typeface="+mn-lt"/>
              <a:cs typeface="+mn-ea"/>
              <a:sym typeface="+mn-lt"/>
            </a:endParaRPr>
          </a:p>
        </p:txBody>
      </p:sp>
      <p:sp>
        <p:nvSpPr>
          <p:cNvPr id="36" name="Text Placeholder 13">
            <a:extLst>
              <a:ext uri="{FF2B5EF4-FFF2-40B4-BE49-F238E27FC236}">
                <a16:creationId xmlns:a16="http://schemas.microsoft.com/office/drawing/2014/main" id="{3670355C-BBB9-4D8A-8D11-030A9F88574E}"/>
              </a:ext>
            </a:extLst>
          </p:cNvPr>
          <p:cNvSpPr txBox="1">
            <a:spLocks/>
          </p:cNvSpPr>
          <p:nvPr/>
        </p:nvSpPr>
        <p:spPr>
          <a:xfrm>
            <a:off x="7020062" y="1987366"/>
            <a:ext cx="2481519" cy="515165"/>
          </a:xfrm>
          <a:prstGeom prst="rect">
            <a:avLst/>
          </a:prstGeom>
        </p:spPr>
        <p:txBody>
          <a:bodyPr vert="horz" lIns="121920" tIns="60960" rIns="121920" bIns="60960" rtlCol="0" anchor="b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400" b="1" kern="1200">
                <a:solidFill>
                  <a:srgbClr val="996633"/>
                </a:solidFill>
                <a:latin typeface="+mn-lt"/>
                <a:ea typeface="+mn-ea"/>
                <a:cs typeface="Dancing Script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b="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输入标题</a:t>
            </a:r>
            <a:endParaRPr lang="en-US" altLang="zh-CN" b="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0E97110F-5243-4875-A5A7-6616446D906E}"/>
              </a:ext>
            </a:extLst>
          </p:cNvPr>
          <p:cNvSpPr txBox="1">
            <a:spLocks/>
          </p:cNvSpPr>
          <p:nvPr/>
        </p:nvSpPr>
        <p:spPr>
          <a:xfrm>
            <a:off x="9068606" y="4238099"/>
            <a:ext cx="2300489" cy="639763"/>
          </a:xfrm>
          <a:prstGeom prst="rect">
            <a:avLst/>
          </a:prstGeom>
          <a:ln>
            <a:noFill/>
          </a:ln>
        </p:spPr>
        <p:txBody>
          <a:bodyPr vert="horz" lIns="121920" tIns="60960" rIns="121920" bIns="60960" rtlCol="0" anchor="b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400" b="1" kern="1200">
                <a:solidFill>
                  <a:srgbClr val="996633"/>
                </a:solidFill>
                <a:latin typeface="+mn-lt"/>
                <a:ea typeface="+mn-ea"/>
                <a:cs typeface="Dancing Script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b="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输入标题</a:t>
            </a:r>
            <a:endParaRPr lang="en-US" altLang="zh-CN" b="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grpSp>
        <p:nvGrpSpPr>
          <p:cNvPr id="38" name="Group 22">
            <a:extLst>
              <a:ext uri="{FF2B5EF4-FFF2-40B4-BE49-F238E27FC236}">
                <a16:creationId xmlns:a16="http://schemas.microsoft.com/office/drawing/2014/main" id="{5AFB2A75-2916-4015-A1AC-085053916EFB}"/>
              </a:ext>
            </a:extLst>
          </p:cNvPr>
          <p:cNvGrpSpPr/>
          <p:nvPr/>
        </p:nvGrpSpPr>
        <p:grpSpPr>
          <a:xfrm>
            <a:off x="3212933" y="3723904"/>
            <a:ext cx="1113507" cy="1612595"/>
            <a:chOff x="2409699" y="2723478"/>
            <a:chExt cx="835130" cy="1209446"/>
          </a:xfr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grpSpPr>
        <p:cxnSp>
          <p:nvCxnSpPr>
            <p:cNvPr id="39" name="Straight Connector 33">
              <a:extLst>
                <a:ext uri="{FF2B5EF4-FFF2-40B4-BE49-F238E27FC236}">
                  <a16:creationId xmlns:a16="http://schemas.microsoft.com/office/drawing/2014/main" id="{97FFDC04-AADC-457B-B9B1-F18340629C3D}"/>
                </a:ext>
              </a:extLst>
            </p:cNvPr>
            <p:cNvCxnSpPr/>
            <p:nvPr/>
          </p:nvCxnSpPr>
          <p:spPr>
            <a:xfrm rot="5400000" flipH="1" flipV="1">
              <a:off x="2640107" y="2909842"/>
              <a:ext cx="374315" cy="1588"/>
            </a:xfrm>
            <a:prstGeom prst="line">
              <a:avLst/>
            </a:prstGeom>
            <a:grpFill/>
            <a:ln w="12700" cmpd="sng">
              <a:solidFill>
                <a:srgbClr val="D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Oval 34">
              <a:extLst>
                <a:ext uri="{FF2B5EF4-FFF2-40B4-BE49-F238E27FC236}">
                  <a16:creationId xmlns:a16="http://schemas.microsoft.com/office/drawing/2014/main" id="{818C67AC-2DC0-4711-95B0-081CBB967AA6}"/>
                </a:ext>
              </a:extLst>
            </p:cNvPr>
            <p:cNvSpPr/>
            <p:nvPr/>
          </p:nvSpPr>
          <p:spPr>
            <a:xfrm>
              <a:off x="2409699" y="3097794"/>
              <a:ext cx="835130" cy="835130"/>
            </a:xfrm>
            <a:prstGeom prst="ellipse">
              <a:avLst/>
            </a:prstGeom>
            <a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12700" cmpd="sng">
              <a:solidFill>
                <a:srgbClr val="D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41" name="Group 23">
            <a:extLst>
              <a:ext uri="{FF2B5EF4-FFF2-40B4-BE49-F238E27FC236}">
                <a16:creationId xmlns:a16="http://schemas.microsoft.com/office/drawing/2014/main" id="{756AD1F0-87BE-4E6C-A00E-3998FA9AC417}"/>
              </a:ext>
            </a:extLst>
          </p:cNvPr>
          <p:cNvGrpSpPr/>
          <p:nvPr/>
        </p:nvGrpSpPr>
        <p:grpSpPr>
          <a:xfrm>
            <a:off x="5611641" y="2109401"/>
            <a:ext cx="1113507" cy="1613652"/>
            <a:chOff x="4208730" y="1512602"/>
            <a:chExt cx="835130" cy="1210239"/>
          </a:xfrm>
          <a:blipFill dpi="0"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grpSpPr>
        <p:cxnSp>
          <p:nvCxnSpPr>
            <p:cNvPr id="42" name="Straight Connector 35">
              <a:extLst>
                <a:ext uri="{FF2B5EF4-FFF2-40B4-BE49-F238E27FC236}">
                  <a16:creationId xmlns:a16="http://schemas.microsoft.com/office/drawing/2014/main" id="{0FECEFB6-1CBE-497B-AD41-793C1998DDCA}"/>
                </a:ext>
              </a:extLst>
            </p:cNvPr>
            <p:cNvCxnSpPr>
              <a:endCxn id="43" idx="4"/>
            </p:cNvCxnSpPr>
            <p:nvPr/>
          </p:nvCxnSpPr>
          <p:spPr>
            <a:xfrm rot="5400000" flipH="1" flipV="1">
              <a:off x="4439138" y="2534890"/>
              <a:ext cx="374315" cy="1588"/>
            </a:xfrm>
            <a:prstGeom prst="line">
              <a:avLst/>
            </a:prstGeom>
            <a:grpFill/>
            <a:ln w="12700" cmpd="sng">
              <a:solidFill>
                <a:srgbClr val="6FCEFE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Oval 36">
              <a:extLst>
                <a:ext uri="{FF2B5EF4-FFF2-40B4-BE49-F238E27FC236}">
                  <a16:creationId xmlns:a16="http://schemas.microsoft.com/office/drawing/2014/main" id="{4FF5332D-0663-43F4-A030-AD0237989C49}"/>
                </a:ext>
              </a:extLst>
            </p:cNvPr>
            <p:cNvSpPr/>
            <p:nvPr/>
          </p:nvSpPr>
          <p:spPr>
            <a:xfrm>
              <a:off x="4208730" y="1512602"/>
              <a:ext cx="835130" cy="835130"/>
            </a:xfrm>
            <a:prstGeom prst="ellipse">
              <a:avLst/>
            </a:prstGeom>
            <a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12700" cmpd="sng">
              <a:solidFill>
                <a:srgbClr val="6FCEFE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44" name="Group 28">
            <a:extLst>
              <a:ext uri="{FF2B5EF4-FFF2-40B4-BE49-F238E27FC236}">
                <a16:creationId xmlns:a16="http://schemas.microsoft.com/office/drawing/2014/main" id="{3B273FD8-C691-4629-9214-655B7E4941E6}"/>
              </a:ext>
            </a:extLst>
          </p:cNvPr>
          <p:cNvGrpSpPr/>
          <p:nvPr/>
        </p:nvGrpSpPr>
        <p:grpSpPr>
          <a:xfrm>
            <a:off x="7703544" y="3710932"/>
            <a:ext cx="1113507" cy="1612595"/>
            <a:chOff x="5777657" y="2713749"/>
            <a:chExt cx="835130" cy="1209446"/>
          </a:xfrm>
          <a:blipFill dpi="0"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grpSpPr>
        <p:cxnSp>
          <p:nvCxnSpPr>
            <p:cNvPr id="45" name="Straight Connector 37">
              <a:extLst>
                <a:ext uri="{FF2B5EF4-FFF2-40B4-BE49-F238E27FC236}">
                  <a16:creationId xmlns:a16="http://schemas.microsoft.com/office/drawing/2014/main" id="{C57F4E6D-0A70-4EC4-BEB8-4B645CECED5E}"/>
                </a:ext>
              </a:extLst>
            </p:cNvPr>
            <p:cNvCxnSpPr/>
            <p:nvPr/>
          </p:nvCxnSpPr>
          <p:spPr>
            <a:xfrm rot="5400000" flipH="1" flipV="1">
              <a:off x="6008065" y="2900113"/>
              <a:ext cx="374315" cy="1588"/>
            </a:xfrm>
            <a:prstGeom prst="line">
              <a:avLst/>
            </a:prstGeom>
            <a:grpFill/>
            <a:ln w="12700" cmpd="sng">
              <a:solidFill>
                <a:srgbClr val="F57B2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Oval 38">
              <a:extLst>
                <a:ext uri="{FF2B5EF4-FFF2-40B4-BE49-F238E27FC236}">
                  <a16:creationId xmlns:a16="http://schemas.microsoft.com/office/drawing/2014/main" id="{7D3030F4-2EB4-4763-9124-976648B73901}"/>
                </a:ext>
              </a:extLst>
            </p:cNvPr>
            <p:cNvSpPr/>
            <p:nvPr/>
          </p:nvSpPr>
          <p:spPr>
            <a:xfrm>
              <a:off x="5777657" y="3088065"/>
              <a:ext cx="835130" cy="835130"/>
            </a:xfrm>
            <a:prstGeom prst="ellipse">
              <a:avLst/>
            </a:prstGeom>
            <a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12700" cmpd="sng">
              <a:solidFill>
                <a:srgbClr val="F57B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3752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prism isInverted="1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 tmFilter="0,0; .5, 1; 1, 1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65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650"/>
                            </p:stCondLst>
                            <p:childTnLst>
                              <p:par>
                                <p:cTn id="2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650"/>
                            </p:stCondLst>
                            <p:childTnLst>
                              <p:par>
                                <p:cTn id="2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150"/>
                            </p:stCondLst>
                            <p:childTnLst>
                              <p:par>
                                <p:cTn id="3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650"/>
                            </p:stCondLst>
                            <p:childTnLst>
                              <p:par>
                                <p:cTn id="4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650"/>
                            </p:stCondLst>
                            <p:childTnLst>
                              <p:par>
                                <p:cTn id="4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6150"/>
                            </p:stCondLst>
                            <p:childTnLst>
                              <p:par>
                                <p:cTn id="5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650"/>
                            </p:stCondLst>
                            <p:childTnLst>
                              <p:par>
                                <p:cTn id="5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650"/>
                            </p:stCondLst>
                            <p:childTnLst>
                              <p:par>
                                <p:cTn id="6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8150"/>
                            </p:stCondLst>
                            <p:childTnLst>
                              <p:par>
                                <p:cTn id="67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650"/>
                            </p:stCondLst>
                            <p:childTnLst>
                              <p:par>
                                <p:cTn id="7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5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9650"/>
                            </p:stCondLst>
                            <p:childTnLst>
                              <p:par>
                                <p:cTn id="77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10150"/>
                            </p:stCondLst>
                            <p:childTnLst>
                              <p:par>
                                <p:cTn id="8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26" grpId="0" build="p"/>
      <p:bldP spid="27" grpId="0" build="p"/>
      <p:bldP spid="28" grpId="0" build="p"/>
      <p:bldP spid="29" grpId="0" build="p"/>
      <p:bldP spid="34" grpId="0"/>
      <p:bldP spid="35" grpId="0"/>
      <p:bldP spid="36" grpId="0"/>
      <p:bldP spid="37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3643088-BADE-4B2C-8D16-84C355AB00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1"/>
            <a:ext cx="12202211" cy="6883204"/>
          </a:xfrm>
          <a:prstGeom prst="rect">
            <a:avLst/>
          </a:prstGeom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7218F93-96F9-462F-BAFB-7E145859AED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99171" y="-99171"/>
            <a:ext cx="1058956" cy="1257300"/>
          </a:xfrm>
          <a:prstGeom prst="rect">
            <a:avLst/>
          </a:prstGeom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EC3E81A0-9853-4F50-A63A-07CECD490F96}"/>
              </a:ext>
            </a:extLst>
          </p:cNvPr>
          <p:cNvSpPr txBox="1"/>
          <p:nvPr/>
        </p:nvSpPr>
        <p:spPr>
          <a:xfrm>
            <a:off x="1367227" y="80984"/>
            <a:ext cx="24514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ART FOUR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17F88ED-E918-45C7-8ED4-BD8E20C0EB3A}"/>
              </a:ext>
            </a:extLst>
          </p:cNvPr>
          <p:cNvSpPr txBox="1"/>
          <p:nvPr/>
        </p:nvSpPr>
        <p:spPr>
          <a:xfrm>
            <a:off x="3583563" y="90631"/>
            <a:ext cx="2957124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000" spc="600" dirty="0">
                <a:latin typeface="+mn-lt"/>
                <a:ea typeface="+mn-ea"/>
                <a:cs typeface="+mn-ea"/>
                <a:sym typeface="+mn-lt"/>
              </a:rPr>
              <a:t>教学反思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B7DBEF3-9634-4DAC-B073-C5E9B81412F8}"/>
              </a:ext>
            </a:extLst>
          </p:cNvPr>
          <p:cNvSpPr txBox="1">
            <a:spLocks/>
          </p:cNvSpPr>
          <p:nvPr/>
        </p:nvSpPr>
        <p:spPr>
          <a:xfrm>
            <a:off x="6474634" y="2130797"/>
            <a:ext cx="5361321" cy="3844819"/>
          </a:xfrm>
          <a:prstGeom prst="rect">
            <a:avLst/>
          </a:prstGeom>
        </p:spPr>
        <p:txBody>
          <a:bodyPr>
            <a:norm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2"/>
                </a:solidFill>
                <a:latin typeface="钟齐陈伟勋硬笔行书字库" panose="02010600030101010101" pitchFamily="2" charset="-122"/>
                <a:ea typeface="+mn-ea"/>
                <a:cs typeface="Dancing Script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133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000"/>
              </a:lnSpc>
              <a:buNone/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ea"/>
              <a:sym typeface="+mn-lt"/>
            </a:endParaRPr>
          </a:p>
          <a:p>
            <a:pPr marL="0" indent="0">
              <a:lnSpc>
                <a:spcPts val="2000"/>
              </a:lnSpc>
              <a:spcBef>
                <a:spcPts val="0"/>
              </a:spcBef>
              <a:buNone/>
            </a:pP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ea"/>
              <a:sym typeface="+mn-lt"/>
            </a:endParaRPr>
          </a:p>
          <a:p>
            <a:pPr marL="0" indent="0">
              <a:lnSpc>
                <a:spcPts val="2000"/>
              </a:lnSpc>
              <a:buNone/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ea"/>
                <a:sym typeface="+mn-lt"/>
              </a:rPr>
              <a:t>请在此处输入具体描述内容，文字尽量言简意赅，说明意思即可，不必过于繁琐，注意版面的美观度。请在此处输入具体描述内容，文字尽量言简意赅，说明意思即可，不必过于繁琐，注意版面的美观度。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ea"/>
              <a:sym typeface="+mn-lt"/>
            </a:endParaRPr>
          </a:p>
          <a:p>
            <a:pPr marL="0" indent="0">
              <a:lnSpc>
                <a:spcPts val="2000"/>
              </a:lnSpc>
              <a:spcBef>
                <a:spcPts val="0"/>
              </a:spcBef>
              <a:buNone/>
            </a:pP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ea"/>
              <a:sym typeface="+mn-lt"/>
            </a:endParaRPr>
          </a:p>
          <a:p>
            <a:pPr marL="0" indent="0">
              <a:lnSpc>
                <a:spcPts val="2000"/>
              </a:lnSpc>
              <a:buNone/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ea"/>
                <a:sym typeface="+mn-lt"/>
              </a:rPr>
              <a:t>请在此处输入具体描述内容，文字尽量言简意赅，说明意思即可，不必过于繁琐，注意版面的美观度。请在此处输入具体描述内容，文字尽量言简意赅，说明意思即可，不必过于繁琐，注意版面的美观度。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ea"/>
              <a:sym typeface="+mn-lt"/>
            </a:endParaRP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77BAAAC7-09D9-4BF9-818B-9A5222C66CF8}"/>
              </a:ext>
            </a:extLst>
          </p:cNvPr>
          <p:cNvSpPr/>
          <p:nvPr/>
        </p:nvSpPr>
        <p:spPr>
          <a:xfrm>
            <a:off x="-11953" y="1980252"/>
            <a:ext cx="6139579" cy="2072957"/>
          </a:xfrm>
          <a:prstGeom prst="rect">
            <a:avLst/>
          </a:pr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3200" dirty="0">
                <a:solidFill>
                  <a:schemeClr val="bg1"/>
                </a:solidFill>
                <a:cs typeface="+mn-ea"/>
                <a:sym typeface="+mn-lt"/>
              </a:rPr>
              <a:t>请输入标题</a:t>
            </a:r>
            <a:endParaRPr lang="en-US" sz="32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1" name="Rectangle 4">
            <a:extLst>
              <a:ext uri="{FF2B5EF4-FFF2-40B4-BE49-F238E27FC236}">
                <a16:creationId xmlns:a16="http://schemas.microsoft.com/office/drawing/2014/main" id="{D2D69E47-D670-4D9F-9F77-B259CA8C6C04}"/>
              </a:ext>
            </a:extLst>
          </p:cNvPr>
          <p:cNvSpPr/>
          <p:nvPr/>
        </p:nvSpPr>
        <p:spPr>
          <a:xfrm>
            <a:off x="0" y="4053209"/>
            <a:ext cx="3055133" cy="2072957"/>
          </a:xfrm>
          <a:prstGeom prst="rect">
            <a:avLst/>
          </a:prstGeo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33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F48F759B-E9FC-479D-8808-A6617A14301E}"/>
              </a:ext>
            </a:extLst>
          </p:cNvPr>
          <p:cNvSpPr/>
          <p:nvPr/>
        </p:nvSpPr>
        <p:spPr>
          <a:xfrm>
            <a:off x="3055134" y="4053209"/>
            <a:ext cx="3079951" cy="2072957"/>
          </a:xfrm>
          <a:prstGeom prst="rect">
            <a:avLst/>
          </a:prstGeom>
          <a:blipFill dpi="0"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33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71817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 advClick="0" advTm="0">
        <p:checker/>
      </p:transition>
    </mc:Choice>
    <mc:Fallback xmlns="">
      <p:transition spd="slow" advClick="0" advTm="0">
        <p:checker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 tmFilter="0,0; .5, 1; 1, 1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650"/>
                            </p:stCondLst>
                            <p:childTnLst>
                              <p:par>
                                <p:cTn id="2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650"/>
                            </p:stCondLst>
                            <p:childTnLst>
                              <p:par>
                                <p:cTn id="27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650"/>
                            </p:stCondLst>
                            <p:childTnLst>
                              <p:par>
                                <p:cTn id="3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2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6" grpId="0"/>
      <p:bldP spid="10" grpId="0" animBg="1"/>
      <p:bldP spid="11" grpId="0" animBg="1"/>
      <p:bldP spid="12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3643088-BADE-4B2C-8D16-84C355AB00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25203"/>
            <a:ext cx="12202211" cy="6858000"/>
          </a:xfrm>
          <a:prstGeom prst="rect">
            <a:avLst/>
          </a:prstGeom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7218F93-96F9-462F-BAFB-7E145859AED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99171" y="-99171"/>
            <a:ext cx="1058956" cy="1257300"/>
          </a:xfrm>
          <a:prstGeom prst="rect">
            <a:avLst/>
          </a:prstGeom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EC3E81A0-9853-4F50-A63A-07CECD490F96}"/>
              </a:ext>
            </a:extLst>
          </p:cNvPr>
          <p:cNvSpPr txBox="1"/>
          <p:nvPr/>
        </p:nvSpPr>
        <p:spPr>
          <a:xfrm>
            <a:off x="1367227" y="80984"/>
            <a:ext cx="24514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ART FOUR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17F88ED-E918-45C7-8ED4-BD8E20C0EB3A}"/>
              </a:ext>
            </a:extLst>
          </p:cNvPr>
          <p:cNvSpPr txBox="1"/>
          <p:nvPr/>
        </p:nvSpPr>
        <p:spPr>
          <a:xfrm>
            <a:off x="3583563" y="90631"/>
            <a:ext cx="2957124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000" spc="600" dirty="0">
                <a:latin typeface="+mn-lt"/>
                <a:ea typeface="+mn-ea"/>
                <a:cs typeface="+mn-ea"/>
                <a:sym typeface="+mn-lt"/>
              </a:rPr>
              <a:t>教学反思</a:t>
            </a:r>
          </a:p>
        </p:txBody>
      </p:sp>
      <p:sp>
        <p:nvSpPr>
          <p:cNvPr id="6" name="自由: 形状 43">
            <a:extLst>
              <a:ext uri="{FF2B5EF4-FFF2-40B4-BE49-F238E27FC236}">
                <a16:creationId xmlns:a16="http://schemas.microsoft.com/office/drawing/2014/main" id="{90327749-8FBC-42F4-8B68-2E69C0177F7E}"/>
              </a:ext>
            </a:extLst>
          </p:cNvPr>
          <p:cNvSpPr/>
          <p:nvPr/>
        </p:nvSpPr>
        <p:spPr>
          <a:xfrm>
            <a:off x="3862897" y="1710876"/>
            <a:ext cx="2015291" cy="2015289"/>
          </a:xfrm>
          <a:custGeom>
            <a:avLst/>
            <a:gdLst>
              <a:gd name="connsiteX0" fmla="*/ 2015290 w 2015290"/>
              <a:gd name="connsiteY0" fmla="*/ 1007645 h 2015289"/>
              <a:gd name="connsiteX1" fmla="*/ 1994819 w 2015290"/>
              <a:gd name="connsiteY1" fmla="*/ 1210720 h 2015289"/>
              <a:gd name="connsiteX2" fmla="*/ 1992753 w 2015290"/>
              <a:gd name="connsiteY2" fmla="*/ 1218756 h 2015289"/>
              <a:gd name="connsiteX3" fmla="*/ 1933733 w 2015290"/>
              <a:gd name="connsiteY3" fmla="*/ 1221736 h 2015289"/>
              <a:gd name="connsiteX4" fmla="*/ 1854532 w 2015290"/>
              <a:gd name="connsiteY4" fmla="*/ 1233824 h 2015289"/>
              <a:gd name="connsiteX5" fmla="*/ 1794542 w 2015290"/>
              <a:gd name="connsiteY5" fmla="*/ 1249249 h 2015289"/>
              <a:gd name="connsiteX6" fmla="*/ 1854530 w 2015290"/>
              <a:gd name="connsiteY6" fmla="*/ 1233825 h 2015289"/>
              <a:gd name="connsiteX7" fmla="*/ 1933731 w 2015290"/>
              <a:gd name="connsiteY7" fmla="*/ 1221737 h 2015289"/>
              <a:gd name="connsiteX8" fmla="*/ 1992751 w 2015290"/>
              <a:gd name="connsiteY8" fmla="*/ 1218756 h 2015289"/>
              <a:gd name="connsiteX9" fmla="*/ 1969986 w 2015290"/>
              <a:gd name="connsiteY9" fmla="*/ 1307288 h 2015289"/>
              <a:gd name="connsiteX10" fmla="*/ 1307287 w 2015290"/>
              <a:gd name="connsiteY10" fmla="*/ 1969987 h 2015289"/>
              <a:gd name="connsiteX11" fmla="*/ 1218756 w 2015290"/>
              <a:gd name="connsiteY11" fmla="*/ 1992752 h 2015289"/>
              <a:gd name="connsiteX12" fmla="*/ 1221736 w 2015290"/>
              <a:gd name="connsiteY12" fmla="*/ 1933732 h 2015289"/>
              <a:gd name="connsiteX13" fmla="*/ 1253480 w 2015290"/>
              <a:gd name="connsiteY13" fmla="*/ 1778086 h 2015289"/>
              <a:gd name="connsiteX14" fmla="*/ 1258463 w 2015290"/>
              <a:gd name="connsiteY14" fmla="*/ 1764471 h 2015289"/>
              <a:gd name="connsiteX15" fmla="*/ 1318134 w 2015290"/>
              <a:gd name="connsiteY15" fmla="*/ 1742631 h 2015289"/>
              <a:gd name="connsiteX16" fmla="*/ 1742630 w 2015290"/>
              <a:gd name="connsiteY16" fmla="*/ 1318135 h 2015289"/>
              <a:gd name="connsiteX17" fmla="*/ 1764470 w 2015290"/>
              <a:gd name="connsiteY17" fmla="*/ 1258464 h 2015289"/>
              <a:gd name="connsiteX18" fmla="*/ 1764472 w 2015290"/>
              <a:gd name="connsiteY18" fmla="*/ 1258463 h 2015289"/>
              <a:gd name="connsiteX19" fmla="*/ 1769455 w 2015290"/>
              <a:gd name="connsiteY19" fmla="*/ 1244848 h 2015289"/>
              <a:gd name="connsiteX20" fmla="*/ 1801199 w 2015290"/>
              <a:gd name="connsiteY20" fmla="*/ 1089202 h 2015289"/>
              <a:gd name="connsiteX21" fmla="*/ 1804180 w 2015290"/>
              <a:gd name="connsiteY21" fmla="*/ 1030182 h 2015289"/>
              <a:gd name="connsiteX22" fmla="*/ 1812215 w 2015290"/>
              <a:gd name="connsiteY22" fmla="*/ 1028116 h 2015289"/>
              <a:gd name="connsiteX23" fmla="*/ 2015290 w 2015290"/>
              <a:gd name="connsiteY23" fmla="*/ 1007645 h 2015289"/>
              <a:gd name="connsiteX24" fmla="*/ 1007645 w 2015290"/>
              <a:gd name="connsiteY24" fmla="*/ 0 h 2015289"/>
              <a:gd name="connsiteX25" fmla="*/ 2015289 w 2015290"/>
              <a:gd name="connsiteY25" fmla="*/ 1007645 h 2015289"/>
              <a:gd name="connsiteX26" fmla="*/ 1812214 w 2015290"/>
              <a:gd name="connsiteY26" fmla="*/ 1028116 h 2015289"/>
              <a:gd name="connsiteX27" fmla="*/ 1804178 w 2015290"/>
              <a:gd name="connsiteY27" fmla="*/ 1030182 h 2015289"/>
              <a:gd name="connsiteX28" fmla="*/ 1805316 w 2015290"/>
              <a:gd name="connsiteY28" fmla="*/ 1007645 h 2015289"/>
              <a:gd name="connsiteX29" fmla="*/ 1007645 w 2015290"/>
              <a:gd name="connsiteY29" fmla="*/ 209973 h 2015289"/>
              <a:gd name="connsiteX30" fmla="*/ 209973 w 2015290"/>
              <a:gd name="connsiteY30" fmla="*/ 1007645 h 2015289"/>
              <a:gd name="connsiteX31" fmla="*/ 1007645 w 2015290"/>
              <a:gd name="connsiteY31" fmla="*/ 1805316 h 2015289"/>
              <a:gd name="connsiteX32" fmla="*/ 1030182 w 2015290"/>
              <a:gd name="connsiteY32" fmla="*/ 1804177 h 2015289"/>
              <a:gd name="connsiteX33" fmla="*/ 1028116 w 2015290"/>
              <a:gd name="connsiteY33" fmla="*/ 1812214 h 2015289"/>
              <a:gd name="connsiteX34" fmla="*/ 1007645 w 2015290"/>
              <a:gd name="connsiteY34" fmla="*/ 2015289 h 2015289"/>
              <a:gd name="connsiteX35" fmla="*/ 0 w 2015290"/>
              <a:gd name="connsiteY35" fmla="*/ 1007645 h 2015289"/>
              <a:gd name="connsiteX36" fmla="*/ 1007645 w 2015290"/>
              <a:gd name="connsiteY36" fmla="*/ 0 h 2015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015290" h="2015289">
                <a:moveTo>
                  <a:pt x="2015290" y="1007645"/>
                </a:moveTo>
                <a:cubicBezTo>
                  <a:pt x="2015290" y="1077208"/>
                  <a:pt x="2008241" y="1145125"/>
                  <a:pt x="1994819" y="1210720"/>
                </a:cubicBezTo>
                <a:lnTo>
                  <a:pt x="1992753" y="1218756"/>
                </a:lnTo>
                <a:lnTo>
                  <a:pt x="1933733" y="1221736"/>
                </a:lnTo>
                <a:cubicBezTo>
                  <a:pt x="1906918" y="1224460"/>
                  <a:pt x="1880495" y="1228511"/>
                  <a:pt x="1854532" y="1233824"/>
                </a:cubicBezTo>
                <a:lnTo>
                  <a:pt x="1794542" y="1249249"/>
                </a:lnTo>
                <a:lnTo>
                  <a:pt x="1854530" y="1233825"/>
                </a:lnTo>
                <a:cubicBezTo>
                  <a:pt x="1880493" y="1228512"/>
                  <a:pt x="1906916" y="1224460"/>
                  <a:pt x="1933731" y="1221737"/>
                </a:cubicBezTo>
                <a:lnTo>
                  <a:pt x="1992751" y="1218756"/>
                </a:lnTo>
                <a:lnTo>
                  <a:pt x="1969986" y="1307288"/>
                </a:lnTo>
                <a:cubicBezTo>
                  <a:pt x="1871849" y="1622811"/>
                  <a:pt x="1622811" y="1871849"/>
                  <a:pt x="1307287" y="1969987"/>
                </a:cubicBezTo>
                <a:lnTo>
                  <a:pt x="1218756" y="1992752"/>
                </a:lnTo>
                <a:lnTo>
                  <a:pt x="1221736" y="1933732"/>
                </a:lnTo>
                <a:cubicBezTo>
                  <a:pt x="1227183" y="1880101"/>
                  <a:pt x="1237942" y="1828041"/>
                  <a:pt x="1253480" y="1778086"/>
                </a:cubicBezTo>
                <a:lnTo>
                  <a:pt x="1258463" y="1764471"/>
                </a:lnTo>
                <a:lnTo>
                  <a:pt x="1318134" y="1742631"/>
                </a:lnTo>
                <a:cubicBezTo>
                  <a:pt x="1508998" y="1661902"/>
                  <a:pt x="1661902" y="1508999"/>
                  <a:pt x="1742630" y="1318135"/>
                </a:cubicBezTo>
                <a:lnTo>
                  <a:pt x="1764470" y="1258464"/>
                </a:lnTo>
                <a:lnTo>
                  <a:pt x="1764472" y="1258463"/>
                </a:lnTo>
                <a:lnTo>
                  <a:pt x="1769455" y="1244848"/>
                </a:lnTo>
                <a:cubicBezTo>
                  <a:pt x="1784993" y="1194893"/>
                  <a:pt x="1795753" y="1142832"/>
                  <a:pt x="1801199" y="1089202"/>
                </a:cubicBezTo>
                <a:lnTo>
                  <a:pt x="1804180" y="1030182"/>
                </a:lnTo>
                <a:lnTo>
                  <a:pt x="1812215" y="1028116"/>
                </a:lnTo>
                <a:cubicBezTo>
                  <a:pt x="1877810" y="1014694"/>
                  <a:pt x="1945727" y="1007645"/>
                  <a:pt x="2015290" y="1007645"/>
                </a:cubicBezTo>
                <a:close/>
                <a:moveTo>
                  <a:pt x="1007645" y="0"/>
                </a:moveTo>
                <a:cubicBezTo>
                  <a:pt x="1564151" y="0"/>
                  <a:pt x="2015289" y="451138"/>
                  <a:pt x="2015289" y="1007645"/>
                </a:cubicBezTo>
                <a:cubicBezTo>
                  <a:pt x="1945726" y="1007645"/>
                  <a:pt x="1877809" y="1014693"/>
                  <a:pt x="1812214" y="1028116"/>
                </a:cubicBezTo>
                <a:lnTo>
                  <a:pt x="1804178" y="1030182"/>
                </a:lnTo>
                <a:lnTo>
                  <a:pt x="1805316" y="1007645"/>
                </a:lnTo>
                <a:cubicBezTo>
                  <a:pt x="1805316" y="567103"/>
                  <a:pt x="1448186" y="209973"/>
                  <a:pt x="1007645" y="209973"/>
                </a:cubicBezTo>
                <a:cubicBezTo>
                  <a:pt x="567103" y="209973"/>
                  <a:pt x="209973" y="567103"/>
                  <a:pt x="209973" y="1007645"/>
                </a:cubicBezTo>
                <a:cubicBezTo>
                  <a:pt x="209973" y="1448186"/>
                  <a:pt x="567103" y="1805316"/>
                  <a:pt x="1007645" y="1805316"/>
                </a:cubicBezTo>
                <a:lnTo>
                  <a:pt x="1030182" y="1804177"/>
                </a:lnTo>
                <a:lnTo>
                  <a:pt x="1028116" y="1812214"/>
                </a:lnTo>
                <a:cubicBezTo>
                  <a:pt x="1014694" y="1877809"/>
                  <a:pt x="1007645" y="1945726"/>
                  <a:pt x="1007645" y="2015289"/>
                </a:cubicBezTo>
                <a:cubicBezTo>
                  <a:pt x="451138" y="2015289"/>
                  <a:pt x="0" y="1564151"/>
                  <a:pt x="0" y="1007645"/>
                </a:cubicBezTo>
                <a:cubicBezTo>
                  <a:pt x="0" y="451138"/>
                  <a:pt x="451138" y="0"/>
                  <a:pt x="1007645" y="0"/>
                </a:cubicBezTo>
                <a:close/>
              </a:path>
            </a:pathLst>
          </a:custGeom>
          <a:solidFill>
            <a:srgbClr val="6FCE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0" name="自由: 形状 44">
            <a:extLst>
              <a:ext uri="{FF2B5EF4-FFF2-40B4-BE49-F238E27FC236}">
                <a16:creationId xmlns:a16="http://schemas.microsoft.com/office/drawing/2014/main" id="{A5574799-B12C-4220-B710-FF767B02CF90}"/>
              </a:ext>
            </a:extLst>
          </p:cNvPr>
          <p:cNvSpPr/>
          <p:nvPr/>
        </p:nvSpPr>
        <p:spPr>
          <a:xfrm>
            <a:off x="6305709" y="2765108"/>
            <a:ext cx="2015289" cy="2015289"/>
          </a:xfrm>
          <a:custGeom>
            <a:avLst/>
            <a:gdLst>
              <a:gd name="connsiteX0" fmla="*/ 312768 w 2015289"/>
              <a:gd name="connsiteY0" fmla="*/ 279105 h 2015289"/>
              <a:gd name="connsiteX1" fmla="*/ 350029 w 2015289"/>
              <a:gd name="connsiteY1" fmla="*/ 320103 h 2015289"/>
              <a:gd name="connsiteX2" fmla="*/ 408037 w 2015289"/>
              <a:gd name="connsiteY2" fmla="*/ 397674 h 2015289"/>
              <a:gd name="connsiteX3" fmla="*/ 439191 w 2015289"/>
              <a:gd name="connsiteY3" fmla="*/ 448957 h 2015289"/>
              <a:gd name="connsiteX4" fmla="*/ 346203 w 2015289"/>
              <a:gd name="connsiteY4" fmla="*/ 561660 h 2015289"/>
              <a:gd name="connsiteX5" fmla="*/ 302707 w 2015289"/>
              <a:gd name="connsiteY5" fmla="*/ 641796 h 2015289"/>
              <a:gd name="connsiteX6" fmla="*/ 302707 w 2015289"/>
              <a:gd name="connsiteY6" fmla="*/ 641796 h 2015289"/>
              <a:gd name="connsiteX7" fmla="*/ 272659 w 2015289"/>
              <a:gd name="connsiteY7" fmla="*/ 697155 h 2015289"/>
              <a:gd name="connsiteX8" fmla="*/ 209973 w 2015289"/>
              <a:gd name="connsiteY8" fmla="*/ 1007644 h 2015289"/>
              <a:gd name="connsiteX9" fmla="*/ 272659 w 2015289"/>
              <a:gd name="connsiteY9" fmla="*/ 1318134 h 2015289"/>
              <a:gd name="connsiteX10" fmla="*/ 277420 w 2015289"/>
              <a:gd name="connsiteY10" fmla="*/ 1326906 h 2015289"/>
              <a:gd name="connsiteX11" fmla="*/ 233922 w 2015289"/>
              <a:gd name="connsiteY11" fmla="*/ 1407042 h 2015289"/>
              <a:gd name="connsiteX12" fmla="*/ 140935 w 2015289"/>
              <a:gd name="connsiteY12" fmla="*/ 1519745 h 2015289"/>
              <a:gd name="connsiteX13" fmla="*/ 121618 w 2015289"/>
              <a:gd name="connsiteY13" fmla="*/ 1487948 h 2015289"/>
              <a:gd name="connsiteX14" fmla="*/ 0 w 2015289"/>
              <a:gd name="connsiteY14" fmla="*/ 1007644 h 2015289"/>
              <a:gd name="connsiteX15" fmla="*/ 172089 w 2015289"/>
              <a:gd name="connsiteY15" fmla="*/ 444260 h 2015289"/>
              <a:gd name="connsiteX16" fmla="*/ 173710 w 2015289"/>
              <a:gd name="connsiteY16" fmla="*/ 442093 h 2015289"/>
              <a:gd name="connsiteX17" fmla="*/ 173711 w 2015289"/>
              <a:gd name="connsiteY17" fmla="*/ 442094 h 2015289"/>
              <a:gd name="connsiteX18" fmla="*/ 230097 w 2015289"/>
              <a:gd name="connsiteY18" fmla="*/ 366691 h 2015289"/>
              <a:gd name="connsiteX19" fmla="*/ 295132 w 2015289"/>
              <a:gd name="connsiteY19" fmla="*/ 295133 h 2015289"/>
              <a:gd name="connsiteX20" fmla="*/ 1007645 w 2015289"/>
              <a:gd name="connsiteY20" fmla="*/ 0 h 2015289"/>
              <a:gd name="connsiteX21" fmla="*/ 2015289 w 2015289"/>
              <a:gd name="connsiteY21" fmla="*/ 1007645 h 2015289"/>
              <a:gd name="connsiteX22" fmla="*/ 1007645 w 2015289"/>
              <a:gd name="connsiteY22" fmla="*/ 2015289 h 2015289"/>
              <a:gd name="connsiteX23" fmla="*/ 295133 w 2015289"/>
              <a:gd name="connsiteY23" fmla="*/ 1720157 h 2015289"/>
              <a:gd name="connsiteX24" fmla="*/ 267359 w 2015289"/>
              <a:gd name="connsiteY24" fmla="*/ 1689598 h 2015289"/>
              <a:gd name="connsiteX25" fmla="*/ 284995 w 2015289"/>
              <a:gd name="connsiteY25" fmla="*/ 1673569 h 2015289"/>
              <a:gd name="connsiteX26" fmla="*/ 350029 w 2015289"/>
              <a:gd name="connsiteY26" fmla="*/ 1602012 h 2015289"/>
              <a:gd name="connsiteX27" fmla="*/ 406416 w 2015289"/>
              <a:gd name="connsiteY27" fmla="*/ 1526609 h 2015289"/>
              <a:gd name="connsiteX28" fmla="*/ 443606 w 2015289"/>
              <a:gd name="connsiteY28" fmla="*/ 1571684 h 2015289"/>
              <a:gd name="connsiteX29" fmla="*/ 1007645 w 2015289"/>
              <a:gd name="connsiteY29" fmla="*/ 1805316 h 2015289"/>
              <a:gd name="connsiteX30" fmla="*/ 1805316 w 2015289"/>
              <a:gd name="connsiteY30" fmla="*/ 1007645 h 2015289"/>
              <a:gd name="connsiteX31" fmla="*/ 1007645 w 2015289"/>
              <a:gd name="connsiteY31" fmla="*/ 209973 h 2015289"/>
              <a:gd name="connsiteX32" fmla="*/ 443606 w 2015289"/>
              <a:gd name="connsiteY32" fmla="*/ 443606 h 2015289"/>
              <a:gd name="connsiteX33" fmla="*/ 439192 w 2015289"/>
              <a:gd name="connsiteY33" fmla="*/ 448956 h 2015289"/>
              <a:gd name="connsiteX34" fmla="*/ 408037 w 2015289"/>
              <a:gd name="connsiteY34" fmla="*/ 397673 h 2015289"/>
              <a:gd name="connsiteX35" fmla="*/ 350029 w 2015289"/>
              <a:gd name="connsiteY35" fmla="*/ 320102 h 2015289"/>
              <a:gd name="connsiteX36" fmla="*/ 312769 w 2015289"/>
              <a:gd name="connsiteY36" fmla="*/ 279104 h 2015289"/>
              <a:gd name="connsiteX37" fmla="*/ 366690 w 2015289"/>
              <a:gd name="connsiteY37" fmla="*/ 230098 h 2015289"/>
              <a:gd name="connsiteX38" fmla="*/ 1007645 w 2015289"/>
              <a:gd name="connsiteY38" fmla="*/ 0 h 2015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2015289" h="2015289">
                <a:moveTo>
                  <a:pt x="312768" y="279105"/>
                </a:moveTo>
                <a:lnTo>
                  <a:pt x="350029" y="320103"/>
                </a:lnTo>
                <a:cubicBezTo>
                  <a:pt x="370564" y="344985"/>
                  <a:pt x="389929" y="370870"/>
                  <a:pt x="408037" y="397674"/>
                </a:cubicBezTo>
                <a:lnTo>
                  <a:pt x="439191" y="448957"/>
                </a:lnTo>
                <a:lnTo>
                  <a:pt x="346203" y="561660"/>
                </a:lnTo>
                <a:lnTo>
                  <a:pt x="302707" y="641796"/>
                </a:lnTo>
                <a:lnTo>
                  <a:pt x="302707" y="641796"/>
                </a:lnTo>
                <a:lnTo>
                  <a:pt x="272659" y="697155"/>
                </a:lnTo>
                <a:cubicBezTo>
                  <a:pt x="232294" y="792587"/>
                  <a:pt x="209973" y="897509"/>
                  <a:pt x="209973" y="1007644"/>
                </a:cubicBezTo>
                <a:cubicBezTo>
                  <a:pt x="209973" y="1117779"/>
                  <a:pt x="232294" y="1222702"/>
                  <a:pt x="272659" y="1318134"/>
                </a:cubicBezTo>
                <a:lnTo>
                  <a:pt x="277420" y="1326906"/>
                </a:lnTo>
                <a:lnTo>
                  <a:pt x="233922" y="1407042"/>
                </a:lnTo>
                <a:lnTo>
                  <a:pt x="140935" y="1519745"/>
                </a:lnTo>
                <a:lnTo>
                  <a:pt x="121618" y="1487948"/>
                </a:lnTo>
                <a:cubicBezTo>
                  <a:pt x="44057" y="1345172"/>
                  <a:pt x="0" y="1181553"/>
                  <a:pt x="0" y="1007644"/>
                </a:cubicBezTo>
                <a:cubicBezTo>
                  <a:pt x="0" y="798954"/>
                  <a:pt x="63441" y="605082"/>
                  <a:pt x="172089" y="444260"/>
                </a:cubicBezTo>
                <a:lnTo>
                  <a:pt x="173710" y="442093"/>
                </a:lnTo>
                <a:lnTo>
                  <a:pt x="173711" y="442094"/>
                </a:lnTo>
                <a:lnTo>
                  <a:pt x="230097" y="366691"/>
                </a:lnTo>
                <a:cubicBezTo>
                  <a:pt x="250632" y="341808"/>
                  <a:pt x="272339" y="317927"/>
                  <a:pt x="295132" y="295133"/>
                </a:cubicBezTo>
                <a:close/>
                <a:moveTo>
                  <a:pt x="1007645" y="0"/>
                </a:moveTo>
                <a:cubicBezTo>
                  <a:pt x="1564151" y="0"/>
                  <a:pt x="2015289" y="451138"/>
                  <a:pt x="2015289" y="1007645"/>
                </a:cubicBezTo>
                <a:cubicBezTo>
                  <a:pt x="2015289" y="1564151"/>
                  <a:pt x="1564151" y="2015289"/>
                  <a:pt x="1007645" y="2015289"/>
                </a:cubicBezTo>
                <a:cubicBezTo>
                  <a:pt x="729392" y="2015289"/>
                  <a:pt x="477481" y="1902504"/>
                  <a:pt x="295133" y="1720157"/>
                </a:cubicBezTo>
                <a:lnTo>
                  <a:pt x="267359" y="1689598"/>
                </a:lnTo>
                <a:lnTo>
                  <a:pt x="284995" y="1673569"/>
                </a:lnTo>
                <a:cubicBezTo>
                  <a:pt x="307788" y="1650776"/>
                  <a:pt x="329494" y="1626895"/>
                  <a:pt x="350029" y="1602012"/>
                </a:cubicBezTo>
                <a:lnTo>
                  <a:pt x="406416" y="1526609"/>
                </a:lnTo>
                <a:lnTo>
                  <a:pt x="443606" y="1571684"/>
                </a:lnTo>
                <a:cubicBezTo>
                  <a:pt x="587956" y="1716034"/>
                  <a:pt x="787374" y="1805316"/>
                  <a:pt x="1007645" y="1805316"/>
                </a:cubicBezTo>
                <a:cubicBezTo>
                  <a:pt x="1448186" y="1805316"/>
                  <a:pt x="1805316" y="1448186"/>
                  <a:pt x="1805316" y="1007645"/>
                </a:cubicBezTo>
                <a:cubicBezTo>
                  <a:pt x="1805316" y="567103"/>
                  <a:pt x="1448186" y="209973"/>
                  <a:pt x="1007645" y="209973"/>
                </a:cubicBezTo>
                <a:cubicBezTo>
                  <a:pt x="787374" y="209973"/>
                  <a:pt x="587956" y="299256"/>
                  <a:pt x="443606" y="443606"/>
                </a:cubicBezTo>
                <a:lnTo>
                  <a:pt x="439192" y="448956"/>
                </a:lnTo>
                <a:lnTo>
                  <a:pt x="408037" y="397673"/>
                </a:lnTo>
                <a:cubicBezTo>
                  <a:pt x="389929" y="370869"/>
                  <a:pt x="370565" y="344984"/>
                  <a:pt x="350029" y="320102"/>
                </a:cubicBezTo>
                <a:lnTo>
                  <a:pt x="312769" y="279104"/>
                </a:lnTo>
                <a:lnTo>
                  <a:pt x="366690" y="230098"/>
                </a:lnTo>
                <a:cubicBezTo>
                  <a:pt x="540870" y="86351"/>
                  <a:pt x="764174" y="0"/>
                  <a:pt x="1007645" y="0"/>
                </a:cubicBezTo>
                <a:close/>
              </a:path>
            </a:pathLst>
          </a:custGeom>
          <a:solidFill>
            <a:srgbClr val="6FCE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1" name="自由: 形状 45">
            <a:extLst>
              <a:ext uri="{FF2B5EF4-FFF2-40B4-BE49-F238E27FC236}">
                <a16:creationId xmlns:a16="http://schemas.microsoft.com/office/drawing/2014/main" id="{67DD07F4-4EB0-4005-BB48-5ADF21E7E038}"/>
              </a:ext>
            </a:extLst>
          </p:cNvPr>
          <p:cNvSpPr/>
          <p:nvPr/>
        </p:nvSpPr>
        <p:spPr>
          <a:xfrm>
            <a:off x="3984733" y="3911989"/>
            <a:ext cx="2015289" cy="2009939"/>
          </a:xfrm>
          <a:custGeom>
            <a:avLst/>
            <a:gdLst>
              <a:gd name="connsiteX0" fmla="*/ 1118715 w 2015289"/>
              <a:gd name="connsiteY0" fmla="*/ 1080 h 2009939"/>
              <a:gd name="connsiteX1" fmla="*/ 1210720 w 2015289"/>
              <a:gd name="connsiteY1" fmla="*/ 15122 h 2009939"/>
              <a:gd name="connsiteX2" fmla="*/ 1893671 w 2015289"/>
              <a:gd name="connsiteY2" fmla="*/ 521991 h 2009939"/>
              <a:gd name="connsiteX3" fmla="*/ 1935924 w 2015289"/>
              <a:gd name="connsiteY3" fmla="*/ 609702 h 2009939"/>
              <a:gd name="connsiteX4" fmla="*/ 1893457 w 2015289"/>
              <a:gd name="connsiteY4" fmla="*/ 611846 h 2009939"/>
              <a:gd name="connsiteX5" fmla="*/ 1732699 w 2015289"/>
              <a:gd name="connsiteY5" fmla="*/ 595640 h 2009939"/>
              <a:gd name="connsiteX6" fmla="*/ 1683579 w 2015289"/>
              <a:gd name="connsiteY6" fmla="*/ 583010 h 2009939"/>
              <a:gd name="connsiteX7" fmla="*/ 1669085 w 2015289"/>
              <a:gd name="connsiteY7" fmla="*/ 556309 h 2009939"/>
              <a:gd name="connsiteX8" fmla="*/ 1244848 w 2015289"/>
              <a:gd name="connsiteY8" fmla="*/ 240486 h 2009939"/>
              <a:gd name="connsiteX9" fmla="*/ 1217524 w 2015289"/>
              <a:gd name="connsiteY9" fmla="*/ 233460 h 2009939"/>
              <a:gd name="connsiteX10" fmla="*/ 1158472 w 2015289"/>
              <a:gd name="connsiteY10" fmla="*/ 124665 h 2009939"/>
              <a:gd name="connsiteX11" fmla="*/ 1131649 w 2015289"/>
              <a:gd name="connsiteY11" fmla="*/ 51379 h 2009939"/>
              <a:gd name="connsiteX12" fmla="*/ 903652 w 2015289"/>
              <a:gd name="connsiteY12" fmla="*/ 0 h 2009939"/>
              <a:gd name="connsiteX13" fmla="*/ 906284 w 2015289"/>
              <a:gd name="connsiteY13" fmla="*/ 17251 h 2009939"/>
              <a:gd name="connsiteX14" fmla="*/ 964999 w 2015289"/>
              <a:gd name="connsiteY14" fmla="*/ 206397 h 2009939"/>
              <a:gd name="connsiteX15" fmla="*/ 965177 w 2015289"/>
              <a:gd name="connsiteY15" fmla="*/ 206768 h 2009939"/>
              <a:gd name="connsiteX16" fmla="*/ 926087 w 2015289"/>
              <a:gd name="connsiteY16" fmla="*/ 208742 h 2009939"/>
              <a:gd name="connsiteX17" fmla="*/ 209973 w 2015289"/>
              <a:gd name="connsiteY17" fmla="*/ 1002295 h 2009939"/>
              <a:gd name="connsiteX18" fmla="*/ 1007644 w 2015289"/>
              <a:gd name="connsiteY18" fmla="*/ 1799966 h 2009939"/>
              <a:gd name="connsiteX19" fmla="*/ 1805316 w 2015289"/>
              <a:gd name="connsiteY19" fmla="*/ 1002295 h 2009939"/>
              <a:gd name="connsiteX20" fmla="*/ 1789110 w 2015289"/>
              <a:gd name="connsiteY20" fmla="*/ 841536 h 2009939"/>
              <a:gd name="connsiteX21" fmla="*/ 1782387 w 2015289"/>
              <a:gd name="connsiteY21" fmla="*/ 815390 h 2009939"/>
              <a:gd name="connsiteX22" fmla="*/ 1782388 w 2015289"/>
              <a:gd name="connsiteY22" fmla="*/ 815390 h 2009939"/>
              <a:gd name="connsiteX23" fmla="*/ 1769455 w 2015289"/>
              <a:gd name="connsiteY23" fmla="*/ 765093 h 2009939"/>
              <a:gd name="connsiteX24" fmla="*/ 1742632 w 2015289"/>
              <a:gd name="connsiteY24" fmla="*/ 691806 h 2009939"/>
              <a:gd name="connsiteX25" fmla="*/ 1683580 w 2015289"/>
              <a:gd name="connsiteY25" fmla="*/ 583011 h 2009939"/>
              <a:gd name="connsiteX26" fmla="*/ 1732700 w 2015289"/>
              <a:gd name="connsiteY26" fmla="*/ 595642 h 2009939"/>
              <a:gd name="connsiteX27" fmla="*/ 1893459 w 2015289"/>
              <a:gd name="connsiteY27" fmla="*/ 611848 h 2009939"/>
              <a:gd name="connsiteX28" fmla="*/ 1935926 w 2015289"/>
              <a:gd name="connsiteY28" fmla="*/ 609703 h 2009939"/>
              <a:gd name="connsiteX29" fmla="*/ 1936105 w 2015289"/>
              <a:gd name="connsiteY29" fmla="*/ 610075 h 2009939"/>
              <a:gd name="connsiteX30" fmla="*/ 1994819 w 2015289"/>
              <a:gd name="connsiteY30" fmla="*/ 799220 h 2009939"/>
              <a:gd name="connsiteX31" fmla="*/ 1997452 w 2015289"/>
              <a:gd name="connsiteY31" fmla="*/ 816472 h 2009939"/>
              <a:gd name="connsiteX32" fmla="*/ 1997451 w 2015289"/>
              <a:gd name="connsiteY32" fmla="*/ 816472 h 2009939"/>
              <a:gd name="connsiteX33" fmla="*/ 2010087 w 2015289"/>
              <a:gd name="connsiteY33" fmla="*/ 899269 h 2009939"/>
              <a:gd name="connsiteX34" fmla="*/ 2015289 w 2015289"/>
              <a:gd name="connsiteY34" fmla="*/ 1002295 h 2009939"/>
              <a:gd name="connsiteX35" fmla="*/ 1007644 w 2015289"/>
              <a:gd name="connsiteY35" fmla="*/ 2009939 h 2009939"/>
              <a:gd name="connsiteX36" fmla="*/ 0 w 2015289"/>
              <a:gd name="connsiteY36" fmla="*/ 1002295 h 2009939"/>
              <a:gd name="connsiteX37" fmla="*/ 804569 w 2015289"/>
              <a:gd name="connsiteY37" fmla="*/ 15122 h 2009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2015289" h="2009939">
                <a:moveTo>
                  <a:pt x="1118715" y="1080"/>
                </a:moveTo>
                <a:lnTo>
                  <a:pt x="1210720" y="15122"/>
                </a:lnTo>
                <a:cubicBezTo>
                  <a:pt x="1505898" y="75524"/>
                  <a:pt x="1754062" y="264994"/>
                  <a:pt x="1893671" y="521991"/>
                </a:cubicBezTo>
                <a:lnTo>
                  <a:pt x="1935924" y="609702"/>
                </a:lnTo>
                <a:lnTo>
                  <a:pt x="1893457" y="611846"/>
                </a:lnTo>
                <a:cubicBezTo>
                  <a:pt x="1838389" y="611846"/>
                  <a:pt x="1784626" y="606266"/>
                  <a:pt x="1732699" y="595640"/>
                </a:cubicBezTo>
                <a:lnTo>
                  <a:pt x="1683579" y="583010"/>
                </a:lnTo>
                <a:lnTo>
                  <a:pt x="1669085" y="556309"/>
                </a:lnTo>
                <a:cubicBezTo>
                  <a:pt x="1568743" y="407782"/>
                  <a:pt x="1419689" y="294867"/>
                  <a:pt x="1244848" y="240486"/>
                </a:cubicBezTo>
                <a:lnTo>
                  <a:pt x="1217524" y="233460"/>
                </a:lnTo>
                <a:lnTo>
                  <a:pt x="1158472" y="124665"/>
                </a:lnTo>
                <a:cubicBezTo>
                  <a:pt x="1148380" y="100807"/>
                  <a:pt x="1139417" y="76356"/>
                  <a:pt x="1131649" y="51379"/>
                </a:cubicBezTo>
                <a:close/>
                <a:moveTo>
                  <a:pt x="903652" y="0"/>
                </a:moveTo>
                <a:lnTo>
                  <a:pt x="906284" y="17251"/>
                </a:lnTo>
                <a:cubicBezTo>
                  <a:pt x="919708" y="82847"/>
                  <a:pt x="939504" y="146120"/>
                  <a:pt x="964999" y="206397"/>
                </a:cubicBezTo>
                <a:lnTo>
                  <a:pt x="965177" y="206768"/>
                </a:lnTo>
                <a:lnTo>
                  <a:pt x="926087" y="208742"/>
                </a:lnTo>
                <a:cubicBezTo>
                  <a:pt x="523857" y="249592"/>
                  <a:pt x="209973" y="589288"/>
                  <a:pt x="209973" y="1002295"/>
                </a:cubicBezTo>
                <a:cubicBezTo>
                  <a:pt x="209973" y="1442836"/>
                  <a:pt x="567103" y="1799966"/>
                  <a:pt x="1007644" y="1799966"/>
                </a:cubicBezTo>
                <a:cubicBezTo>
                  <a:pt x="1448186" y="1799966"/>
                  <a:pt x="1805316" y="1442836"/>
                  <a:pt x="1805316" y="1002295"/>
                </a:cubicBezTo>
                <a:cubicBezTo>
                  <a:pt x="1805316" y="947227"/>
                  <a:pt x="1799736" y="893463"/>
                  <a:pt x="1789110" y="841536"/>
                </a:cubicBezTo>
                <a:lnTo>
                  <a:pt x="1782387" y="815390"/>
                </a:lnTo>
                <a:lnTo>
                  <a:pt x="1782388" y="815390"/>
                </a:lnTo>
                <a:lnTo>
                  <a:pt x="1769455" y="765093"/>
                </a:lnTo>
                <a:cubicBezTo>
                  <a:pt x="1761687" y="740115"/>
                  <a:pt x="1752723" y="715664"/>
                  <a:pt x="1742632" y="691806"/>
                </a:cubicBezTo>
                <a:lnTo>
                  <a:pt x="1683580" y="583011"/>
                </a:lnTo>
                <a:lnTo>
                  <a:pt x="1732700" y="595642"/>
                </a:lnTo>
                <a:cubicBezTo>
                  <a:pt x="1784627" y="606268"/>
                  <a:pt x="1838391" y="611848"/>
                  <a:pt x="1893459" y="611848"/>
                </a:cubicBezTo>
                <a:lnTo>
                  <a:pt x="1935926" y="609703"/>
                </a:lnTo>
                <a:lnTo>
                  <a:pt x="1936105" y="610075"/>
                </a:lnTo>
                <a:cubicBezTo>
                  <a:pt x="1961599" y="670352"/>
                  <a:pt x="1981396" y="733626"/>
                  <a:pt x="1994819" y="799220"/>
                </a:cubicBezTo>
                <a:lnTo>
                  <a:pt x="1997452" y="816472"/>
                </a:lnTo>
                <a:lnTo>
                  <a:pt x="1997451" y="816472"/>
                </a:lnTo>
                <a:lnTo>
                  <a:pt x="2010087" y="899269"/>
                </a:lnTo>
                <a:cubicBezTo>
                  <a:pt x="2013527" y="933143"/>
                  <a:pt x="2015289" y="967513"/>
                  <a:pt x="2015289" y="1002295"/>
                </a:cubicBezTo>
                <a:cubicBezTo>
                  <a:pt x="2015289" y="1558801"/>
                  <a:pt x="1564151" y="2009939"/>
                  <a:pt x="1007644" y="2009939"/>
                </a:cubicBezTo>
                <a:cubicBezTo>
                  <a:pt x="451138" y="2009939"/>
                  <a:pt x="0" y="1558801"/>
                  <a:pt x="0" y="1002295"/>
                </a:cubicBezTo>
                <a:cubicBezTo>
                  <a:pt x="0" y="515352"/>
                  <a:pt x="345403" y="109081"/>
                  <a:pt x="804569" y="15122"/>
                </a:cubicBezTo>
                <a:close/>
              </a:path>
            </a:pathLst>
          </a:custGeom>
          <a:solidFill>
            <a:srgbClr val="6FCE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600ACB05-7672-44AC-8E91-7EF6F9C27B35}"/>
              </a:ext>
            </a:extLst>
          </p:cNvPr>
          <p:cNvGrpSpPr/>
          <p:nvPr/>
        </p:nvGrpSpPr>
        <p:grpSpPr>
          <a:xfrm>
            <a:off x="4870546" y="2718518"/>
            <a:ext cx="2015289" cy="2009940"/>
            <a:chOff x="4870545" y="2788318"/>
            <a:chExt cx="2015289" cy="2009940"/>
          </a:xfrm>
          <a:solidFill>
            <a:srgbClr val="D00000"/>
          </a:solidFill>
        </p:grpSpPr>
        <p:sp>
          <p:nvSpPr>
            <p:cNvPr id="13" name="Freeform 144">
              <a:extLst>
                <a:ext uri="{FF2B5EF4-FFF2-40B4-BE49-F238E27FC236}">
                  <a16:creationId xmlns:a16="http://schemas.microsoft.com/office/drawing/2014/main" id="{CA4F411E-D554-44C5-97B5-EDC18570F827}"/>
                </a:ext>
              </a:extLst>
            </p:cNvPr>
            <p:cNvSpPr/>
            <p:nvPr/>
          </p:nvSpPr>
          <p:spPr>
            <a:xfrm>
              <a:off x="5855652" y="2788318"/>
              <a:ext cx="762824" cy="488681"/>
            </a:xfrm>
            <a:custGeom>
              <a:avLst/>
              <a:gdLst>
                <a:gd name="connsiteX0" fmla="*/ 24469 w 828209"/>
                <a:gd name="connsiteY0" fmla="*/ 0 h 530568"/>
                <a:gd name="connsiteX1" fmla="*/ 798054 w 828209"/>
                <a:gd name="connsiteY1" fmla="*/ 320429 h 530568"/>
                <a:gd name="connsiteX2" fmla="*/ 828209 w 828209"/>
                <a:gd name="connsiteY2" fmla="*/ 353608 h 530568"/>
                <a:gd name="connsiteX3" fmla="*/ 809061 w 828209"/>
                <a:gd name="connsiteY3" fmla="*/ 371010 h 530568"/>
                <a:gd name="connsiteX4" fmla="*/ 738452 w 828209"/>
                <a:gd name="connsiteY4" fmla="*/ 448701 h 530568"/>
                <a:gd name="connsiteX5" fmla="*/ 677232 w 828209"/>
                <a:gd name="connsiteY5" fmla="*/ 530568 h 530568"/>
                <a:gd name="connsiteX6" fmla="*/ 636854 w 828209"/>
                <a:gd name="connsiteY6" fmla="*/ 481629 h 530568"/>
                <a:gd name="connsiteX7" fmla="*/ 24469 w 828209"/>
                <a:gd name="connsiteY7" fmla="*/ 227971 h 530568"/>
                <a:gd name="connsiteX8" fmla="*/ 0 w 828209"/>
                <a:gd name="connsiteY8" fmla="*/ 229206 h 530568"/>
                <a:gd name="connsiteX9" fmla="*/ 2243 w 828209"/>
                <a:gd name="connsiteY9" fmla="*/ 220482 h 530568"/>
                <a:gd name="connsiteX10" fmla="*/ 24469 w 828209"/>
                <a:gd name="connsiteY10" fmla="*/ 0 h 530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28209" h="530568">
                  <a:moveTo>
                    <a:pt x="24469" y="0"/>
                  </a:moveTo>
                  <a:cubicBezTo>
                    <a:pt x="326573" y="0"/>
                    <a:pt x="600076" y="122452"/>
                    <a:pt x="798054" y="320429"/>
                  </a:cubicBezTo>
                  <a:lnTo>
                    <a:pt x="828209" y="353608"/>
                  </a:lnTo>
                  <a:lnTo>
                    <a:pt x="809061" y="371010"/>
                  </a:lnTo>
                  <a:cubicBezTo>
                    <a:pt x="784314" y="395757"/>
                    <a:pt x="760747" y="421685"/>
                    <a:pt x="738452" y="448701"/>
                  </a:cubicBezTo>
                  <a:lnTo>
                    <a:pt x="677232" y="530568"/>
                  </a:lnTo>
                  <a:lnTo>
                    <a:pt x="636854" y="481629"/>
                  </a:lnTo>
                  <a:cubicBezTo>
                    <a:pt x="480131" y="324906"/>
                    <a:pt x="263620" y="227971"/>
                    <a:pt x="24469" y="227971"/>
                  </a:cubicBezTo>
                  <a:lnTo>
                    <a:pt x="0" y="229206"/>
                  </a:lnTo>
                  <a:lnTo>
                    <a:pt x="2243" y="220482"/>
                  </a:lnTo>
                  <a:cubicBezTo>
                    <a:pt x="16816" y="149264"/>
                    <a:pt x="24469" y="75526"/>
                    <a:pt x="24469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4" name="自由: 形状 42">
              <a:extLst>
                <a:ext uri="{FF2B5EF4-FFF2-40B4-BE49-F238E27FC236}">
                  <a16:creationId xmlns:a16="http://schemas.microsoft.com/office/drawing/2014/main" id="{6BA7DA33-F0C2-4165-A632-22842D3A71EC}"/>
                </a:ext>
              </a:extLst>
            </p:cNvPr>
            <p:cNvSpPr/>
            <p:nvPr/>
          </p:nvSpPr>
          <p:spPr>
            <a:xfrm>
              <a:off x="4870545" y="2810856"/>
              <a:ext cx="896572" cy="1986321"/>
            </a:xfrm>
            <a:custGeom>
              <a:avLst/>
              <a:gdLst>
                <a:gd name="connsiteX0" fmla="*/ 121832 w 896572"/>
                <a:gd name="connsiteY0" fmla="*/ 1165582 h 1986321"/>
                <a:gd name="connsiteX1" fmla="*/ 224858 w 896572"/>
                <a:gd name="connsiteY1" fmla="*/ 1170784 h 1986321"/>
                <a:gd name="connsiteX2" fmla="*/ 232902 w 896572"/>
                <a:gd name="connsiteY2" fmla="*/ 1172012 h 1986321"/>
                <a:gd name="connsiteX3" fmla="*/ 245836 w 896572"/>
                <a:gd name="connsiteY3" fmla="*/ 1222311 h 1986321"/>
                <a:gd name="connsiteX4" fmla="*/ 272659 w 896572"/>
                <a:gd name="connsiteY4" fmla="*/ 1295597 h 1986321"/>
                <a:gd name="connsiteX5" fmla="*/ 331711 w 896572"/>
                <a:gd name="connsiteY5" fmla="*/ 1404392 h 1986321"/>
                <a:gd name="connsiteX6" fmla="*/ 282591 w 896572"/>
                <a:gd name="connsiteY6" fmla="*/ 1391762 h 1986321"/>
                <a:gd name="connsiteX7" fmla="*/ 282591 w 896572"/>
                <a:gd name="connsiteY7" fmla="*/ 1391762 h 1986321"/>
                <a:gd name="connsiteX8" fmla="*/ 331709 w 896572"/>
                <a:gd name="connsiteY8" fmla="*/ 1404392 h 1986321"/>
                <a:gd name="connsiteX9" fmla="*/ 346202 w 896572"/>
                <a:gd name="connsiteY9" fmla="*/ 1431093 h 1986321"/>
                <a:gd name="connsiteX10" fmla="*/ 770440 w 896572"/>
                <a:gd name="connsiteY10" fmla="*/ 1746916 h 1986321"/>
                <a:gd name="connsiteX11" fmla="*/ 797765 w 896572"/>
                <a:gd name="connsiteY11" fmla="*/ 1753942 h 1986321"/>
                <a:gd name="connsiteX12" fmla="*/ 856816 w 896572"/>
                <a:gd name="connsiteY12" fmla="*/ 1862736 h 1986321"/>
                <a:gd name="connsiteX13" fmla="*/ 883639 w 896572"/>
                <a:gd name="connsiteY13" fmla="*/ 1936023 h 1986321"/>
                <a:gd name="connsiteX14" fmla="*/ 896572 w 896572"/>
                <a:gd name="connsiteY14" fmla="*/ 1986321 h 1986321"/>
                <a:gd name="connsiteX15" fmla="*/ 804567 w 896572"/>
                <a:gd name="connsiteY15" fmla="*/ 1972280 h 1986321"/>
                <a:gd name="connsiteX16" fmla="*/ 121617 w 896572"/>
                <a:gd name="connsiteY16" fmla="*/ 1465410 h 1986321"/>
                <a:gd name="connsiteX17" fmla="*/ 79363 w 896572"/>
                <a:gd name="connsiteY17" fmla="*/ 1377699 h 1986321"/>
                <a:gd name="connsiteX18" fmla="*/ 79364 w 896572"/>
                <a:gd name="connsiteY18" fmla="*/ 1377699 h 1986321"/>
                <a:gd name="connsiteX19" fmla="*/ 79186 w 896572"/>
                <a:gd name="connsiteY19" fmla="*/ 1377329 h 1986321"/>
                <a:gd name="connsiteX20" fmla="*/ 20471 w 896572"/>
                <a:gd name="connsiteY20" fmla="*/ 1188183 h 1986321"/>
                <a:gd name="connsiteX21" fmla="*/ 17839 w 896572"/>
                <a:gd name="connsiteY21" fmla="*/ 1170932 h 1986321"/>
                <a:gd name="connsiteX22" fmla="*/ 18805 w 896572"/>
                <a:gd name="connsiteY22" fmla="*/ 1170784 h 1986321"/>
                <a:gd name="connsiteX23" fmla="*/ 121832 w 896572"/>
                <a:gd name="connsiteY23" fmla="*/ 1165582 h 1986321"/>
                <a:gd name="connsiteX24" fmla="*/ 250818 w 896572"/>
                <a:gd name="connsiteY24" fmla="*/ 734289 h 1986321"/>
                <a:gd name="connsiteX25" fmla="*/ 245835 w 896572"/>
                <a:gd name="connsiteY25" fmla="*/ 747904 h 1986321"/>
                <a:gd name="connsiteX26" fmla="*/ 214091 w 896572"/>
                <a:gd name="connsiteY26" fmla="*/ 903550 h 1986321"/>
                <a:gd name="connsiteX27" fmla="*/ 211112 w 896572"/>
                <a:gd name="connsiteY27" fmla="*/ 962570 h 1986321"/>
                <a:gd name="connsiteX28" fmla="*/ 209974 w 896572"/>
                <a:gd name="connsiteY28" fmla="*/ 985106 h 1986321"/>
                <a:gd name="connsiteX29" fmla="*/ 226179 w 896572"/>
                <a:gd name="connsiteY29" fmla="*/ 1145865 h 1986321"/>
                <a:gd name="connsiteX30" fmla="*/ 232902 w 896572"/>
                <a:gd name="connsiteY30" fmla="*/ 1172011 h 1986321"/>
                <a:gd name="connsiteX31" fmla="*/ 224858 w 896572"/>
                <a:gd name="connsiteY31" fmla="*/ 1170783 h 1986321"/>
                <a:gd name="connsiteX32" fmla="*/ 121832 w 896572"/>
                <a:gd name="connsiteY32" fmla="*/ 1165581 h 1986321"/>
                <a:gd name="connsiteX33" fmla="*/ 18805 w 896572"/>
                <a:gd name="connsiteY33" fmla="*/ 1170783 h 1986321"/>
                <a:gd name="connsiteX34" fmla="*/ 17839 w 896572"/>
                <a:gd name="connsiteY34" fmla="*/ 1170931 h 1986321"/>
                <a:gd name="connsiteX35" fmla="*/ 5202 w 896572"/>
                <a:gd name="connsiteY35" fmla="*/ 1088133 h 1986321"/>
                <a:gd name="connsiteX36" fmla="*/ 0 w 896572"/>
                <a:gd name="connsiteY36" fmla="*/ 985107 h 1986321"/>
                <a:gd name="connsiteX37" fmla="*/ 0 w 896572"/>
                <a:gd name="connsiteY37" fmla="*/ 985107 h 1986321"/>
                <a:gd name="connsiteX38" fmla="*/ 0 w 896572"/>
                <a:gd name="connsiteY38" fmla="*/ 985106 h 1986321"/>
                <a:gd name="connsiteX39" fmla="*/ 5202 w 896572"/>
                <a:gd name="connsiteY39" fmla="*/ 882082 h 1986321"/>
                <a:gd name="connsiteX40" fmla="*/ 20471 w 896572"/>
                <a:gd name="connsiteY40" fmla="*/ 782032 h 1986321"/>
                <a:gd name="connsiteX41" fmla="*/ 22537 w 896572"/>
                <a:gd name="connsiteY41" fmla="*/ 773996 h 1986321"/>
                <a:gd name="connsiteX42" fmla="*/ 81558 w 896572"/>
                <a:gd name="connsiteY42" fmla="*/ 771016 h 1986321"/>
                <a:gd name="connsiteX43" fmla="*/ 237203 w 896572"/>
                <a:gd name="connsiteY43" fmla="*/ 739272 h 1986321"/>
                <a:gd name="connsiteX44" fmla="*/ 796533 w 896572"/>
                <a:gd name="connsiteY44" fmla="*/ 0 h 1986321"/>
                <a:gd name="connsiteX45" fmla="*/ 793553 w 896572"/>
                <a:gd name="connsiteY45" fmla="*/ 59020 h 1986321"/>
                <a:gd name="connsiteX46" fmla="*/ 761809 w 896572"/>
                <a:gd name="connsiteY46" fmla="*/ 214666 h 1986321"/>
                <a:gd name="connsiteX47" fmla="*/ 756826 w 896572"/>
                <a:gd name="connsiteY47" fmla="*/ 228281 h 1986321"/>
                <a:gd name="connsiteX48" fmla="*/ 697154 w 896572"/>
                <a:gd name="connsiteY48" fmla="*/ 250121 h 1986321"/>
                <a:gd name="connsiteX49" fmla="*/ 272658 w 896572"/>
                <a:gd name="connsiteY49" fmla="*/ 674617 h 1986321"/>
                <a:gd name="connsiteX50" fmla="*/ 250818 w 896572"/>
                <a:gd name="connsiteY50" fmla="*/ 734289 h 1986321"/>
                <a:gd name="connsiteX51" fmla="*/ 237203 w 896572"/>
                <a:gd name="connsiteY51" fmla="*/ 739271 h 1986321"/>
                <a:gd name="connsiteX52" fmla="*/ 81557 w 896572"/>
                <a:gd name="connsiteY52" fmla="*/ 771016 h 1986321"/>
                <a:gd name="connsiteX53" fmla="*/ 22537 w 896572"/>
                <a:gd name="connsiteY53" fmla="*/ 773995 h 1986321"/>
                <a:gd name="connsiteX54" fmla="*/ 45302 w 896572"/>
                <a:gd name="connsiteY54" fmla="*/ 685465 h 1986321"/>
                <a:gd name="connsiteX55" fmla="*/ 708002 w 896572"/>
                <a:gd name="connsiteY55" fmla="*/ 22765 h 1986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896572" h="1986321">
                  <a:moveTo>
                    <a:pt x="121832" y="1165582"/>
                  </a:moveTo>
                  <a:cubicBezTo>
                    <a:pt x="156613" y="1165582"/>
                    <a:pt x="190983" y="1167344"/>
                    <a:pt x="224858" y="1170784"/>
                  </a:cubicBezTo>
                  <a:lnTo>
                    <a:pt x="232902" y="1172012"/>
                  </a:lnTo>
                  <a:lnTo>
                    <a:pt x="245836" y="1222311"/>
                  </a:lnTo>
                  <a:cubicBezTo>
                    <a:pt x="253604" y="1247288"/>
                    <a:pt x="262568" y="1271739"/>
                    <a:pt x="272659" y="1295597"/>
                  </a:cubicBezTo>
                  <a:lnTo>
                    <a:pt x="331711" y="1404392"/>
                  </a:lnTo>
                  <a:lnTo>
                    <a:pt x="282591" y="1391762"/>
                  </a:lnTo>
                  <a:lnTo>
                    <a:pt x="282591" y="1391762"/>
                  </a:lnTo>
                  <a:lnTo>
                    <a:pt x="331709" y="1404392"/>
                  </a:lnTo>
                  <a:lnTo>
                    <a:pt x="346202" y="1431093"/>
                  </a:lnTo>
                  <a:cubicBezTo>
                    <a:pt x="446545" y="1579620"/>
                    <a:pt x="595598" y="1692535"/>
                    <a:pt x="770440" y="1746916"/>
                  </a:cubicBezTo>
                  <a:lnTo>
                    <a:pt x="797765" y="1753942"/>
                  </a:lnTo>
                  <a:lnTo>
                    <a:pt x="856816" y="1862736"/>
                  </a:lnTo>
                  <a:cubicBezTo>
                    <a:pt x="866907" y="1886594"/>
                    <a:pt x="875871" y="1911046"/>
                    <a:pt x="883639" y="1936023"/>
                  </a:cubicBezTo>
                  <a:lnTo>
                    <a:pt x="896572" y="1986321"/>
                  </a:lnTo>
                  <a:lnTo>
                    <a:pt x="804567" y="1972280"/>
                  </a:lnTo>
                  <a:cubicBezTo>
                    <a:pt x="509390" y="1911877"/>
                    <a:pt x="261226" y="1722408"/>
                    <a:pt x="121617" y="1465410"/>
                  </a:cubicBezTo>
                  <a:lnTo>
                    <a:pt x="79363" y="1377699"/>
                  </a:lnTo>
                  <a:lnTo>
                    <a:pt x="79364" y="1377699"/>
                  </a:lnTo>
                  <a:lnTo>
                    <a:pt x="79186" y="1377329"/>
                  </a:lnTo>
                  <a:cubicBezTo>
                    <a:pt x="53691" y="1317052"/>
                    <a:pt x="33895" y="1253779"/>
                    <a:pt x="20471" y="1188183"/>
                  </a:cubicBezTo>
                  <a:lnTo>
                    <a:pt x="17839" y="1170932"/>
                  </a:lnTo>
                  <a:lnTo>
                    <a:pt x="18805" y="1170784"/>
                  </a:lnTo>
                  <a:cubicBezTo>
                    <a:pt x="52680" y="1167344"/>
                    <a:pt x="87050" y="1165582"/>
                    <a:pt x="121832" y="1165582"/>
                  </a:cubicBezTo>
                  <a:close/>
                  <a:moveTo>
                    <a:pt x="250818" y="734289"/>
                  </a:moveTo>
                  <a:lnTo>
                    <a:pt x="245835" y="747904"/>
                  </a:lnTo>
                  <a:cubicBezTo>
                    <a:pt x="230297" y="797859"/>
                    <a:pt x="219538" y="849919"/>
                    <a:pt x="214091" y="903550"/>
                  </a:cubicBezTo>
                  <a:lnTo>
                    <a:pt x="211112" y="962570"/>
                  </a:lnTo>
                  <a:lnTo>
                    <a:pt x="209974" y="985106"/>
                  </a:lnTo>
                  <a:cubicBezTo>
                    <a:pt x="209974" y="1040174"/>
                    <a:pt x="215554" y="1093938"/>
                    <a:pt x="226179" y="1145865"/>
                  </a:cubicBezTo>
                  <a:lnTo>
                    <a:pt x="232902" y="1172011"/>
                  </a:lnTo>
                  <a:lnTo>
                    <a:pt x="224858" y="1170783"/>
                  </a:lnTo>
                  <a:cubicBezTo>
                    <a:pt x="190983" y="1167343"/>
                    <a:pt x="156613" y="1165581"/>
                    <a:pt x="121832" y="1165581"/>
                  </a:cubicBezTo>
                  <a:cubicBezTo>
                    <a:pt x="87050" y="1165581"/>
                    <a:pt x="52680" y="1167343"/>
                    <a:pt x="18805" y="1170783"/>
                  </a:cubicBezTo>
                  <a:lnTo>
                    <a:pt x="17839" y="1170931"/>
                  </a:lnTo>
                  <a:lnTo>
                    <a:pt x="5202" y="1088133"/>
                  </a:lnTo>
                  <a:lnTo>
                    <a:pt x="0" y="985107"/>
                  </a:lnTo>
                  <a:lnTo>
                    <a:pt x="0" y="985107"/>
                  </a:lnTo>
                  <a:lnTo>
                    <a:pt x="0" y="985106"/>
                  </a:lnTo>
                  <a:lnTo>
                    <a:pt x="5202" y="882082"/>
                  </a:lnTo>
                  <a:cubicBezTo>
                    <a:pt x="8642" y="848208"/>
                    <a:pt x="13760" y="814830"/>
                    <a:pt x="20471" y="782032"/>
                  </a:cubicBezTo>
                  <a:lnTo>
                    <a:pt x="22537" y="773996"/>
                  </a:lnTo>
                  <a:lnTo>
                    <a:pt x="81558" y="771016"/>
                  </a:lnTo>
                  <a:cubicBezTo>
                    <a:pt x="135189" y="765569"/>
                    <a:pt x="187248" y="754810"/>
                    <a:pt x="237203" y="739272"/>
                  </a:cubicBezTo>
                  <a:close/>
                  <a:moveTo>
                    <a:pt x="796533" y="0"/>
                  </a:moveTo>
                  <a:lnTo>
                    <a:pt x="793553" y="59020"/>
                  </a:lnTo>
                  <a:cubicBezTo>
                    <a:pt x="788107" y="112650"/>
                    <a:pt x="777347" y="164711"/>
                    <a:pt x="761809" y="214666"/>
                  </a:cubicBezTo>
                  <a:lnTo>
                    <a:pt x="756826" y="228281"/>
                  </a:lnTo>
                  <a:lnTo>
                    <a:pt x="697154" y="250121"/>
                  </a:lnTo>
                  <a:cubicBezTo>
                    <a:pt x="506290" y="330849"/>
                    <a:pt x="353387" y="483753"/>
                    <a:pt x="272658" y="674617"/>
                  </a:cubicBezTo>
                  <a:lnTo>
                    <a:pt x="250818" y="734289"/>
                  </a:lnTo>
                  <a:lnTo>
                    <a:pt x="237203" y="739271"/>
                  </a:lnTo>
                  <a:cubicBezTo>
                    <a:pt x="187248" y="754810"/>
                    <a:pt x="135188" y="765568"/>
                    <a:pt x="81557" y="771016"/>
                  </a:cubicBezTo>
                  <a:lnTo>
                    <a:pt x="22537" y="773995"/>
                  </a:lnTo>
                  <a:lnTo>
                    <a:pt x="45302" y="685465"/>
                  </a:lnTo>
                  <a:cubicBezTo>
                    <a:pt x="143440" y="369941"/>
                    <a:pt x="392479" y="120902"/>
                    <a:pt x="708002" y="22765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5" name="自由: 形状 41">
              <a:extLst>
                <a:ext uri="{FF2B5EF4-FFF2-40B4-BE49-F238E27FC236}">
                  <a16:creationId xmlns:a16="http://schemas.microsoft.com/office/drawing/2014/main" id="{78BE2BA7-CC68-4F02-92D1-8237393201FA}"/>
                </a:ext>
              </a:extLst>
            </p:cNvPr>
            <p:cNvSpPr/>
            <p:nvPr/>
          </p:nvSpPr>
          <p:spPr>
            <a:xfrm>
              <a:off x="5920656" y="3283863"/>
              <a:ext cx="965178" cy="1514395"/>
            </a:xfrm>
            <a:custGeom>
              <a:avLst/>
              <a:gdLst>
                <a:gd name="connsiteX0" fmla="*/ 662470 w 965178"/>
                <a:gd name="connsiteY0" fmla="*/ 877950 h 1514395"/>
                <a:gd name="connsiteX1" fmla="*/ 731254 w 965178"/>
                <a:gd name="connsiteY1" fmla="*/ 1004674 h 1514395"/>
                <a:gd name="connsiteX2" fmla="*/ 791466 w 965178"/>
                <a:gd name="connsiteY2" fmla="*/ 1077653 h 1514395"/>
                <a:gd name="connsiteX3" fmla="*/ 735079 w 965178"/>
                <a:gd name="connsiteY3" fmla="*/ 1153056 h 1514395"/>
                <a:gd name="connsiteX4" fmla="*/ 670045 w 965178"/>
                <a:gd name="connsiteY4" fmla="*/ 1224613 h 1514395"/>
                <a:gd name="connsiteX5" fmla="*/ 652410 w 965178"/>
                <a:gd name="connsiteY5" fmla="*/ 1240641 h 1514395"/>
                <a:gd name="connsiteX6" fmla="*/ 598488 w 965178"/>
                <a:gd name="connsiteY6" fmla="*/ 1289647 h 1514395"/>
                <a:gd name="connsiteX7" fmla="*/ 160609 w 965178"/>
                <a:gd name="connsiteY7" fmla="*/ 1499273 h 1514395"/>
                <a:gd name="connsiteX8" fmla="*/ 61527 w 965178"/>
                <a:gd name="connsiteY8" fmla="*/ 1514395 h 1514395"/>
                <a:gd name="connsiteX9" fmla="*/ 58893 w 965178"/>
                <a:gd name="connsiteY9" fmla="*/ 1497144 h 1514395"/>
                <a:gd name="connsiteX10" fmla="*/ 179 w 965178"/>
                <a:gd name="connsiteY10" fmla="*/ 1307998 h 1514395"/>
                <a:gd name="connsiteX11" fmla="*/ 0 w 965178"/>
                <a:gd name="connsiteY11" fmla="*/ 1307627 h 1514395"/>
                <a:gd name="connsiteX12" fmla="*/ 39091 w 965178"/>
                <a:gd name="connsiteY12" fmla="*/ 1305653 h 1514395"/>
                <a:gd name="connsiteX13" fmla="*/ 521572 w 965178"/>
                <a:gd name="connsiteY13" fmla="*/ 1076139 h 1514395"/>
                <a:gd name="connsiteX14" fmla="*/ 525986 w 965178"/>
                <a:gd name="connsiteY14" fmla="*/ 1070790 h 1514395"/>
                <a:gd name="connsiteX15" fmla="*/ 525985 w 965178"/>
                <a:gd name="connsiteY15" fmla="*/ 1070789 h 1514395"/>
                <a:gd name="connsiteX16" fmla="*/ 618973 w 965178"/>
                <a:gd name="connsiteY16" fmla="*/ 958086 h 1514395"/>
                <a:gd name="connsiteX17" fmla="*/ 824243 w 965178"/>
                <a:gd name="connsiteY17" fmla="*/ 0 h 1514395"/>
                <a:gd name="connsiteX18" fmla="*/ 843560 w 965178"/>
                <a:gd name="connsiteY18" fmla="*/ 31797 h 1514395"/>
                <a:gd name="connsiteX19" fmla="*/ 965178 w 965178"/>
                <a:gd name="connsiteY19" fmla="*/ 512101 h 1514395"/>
                <a:gd name="connsiteX20" fmla="*/ 793089 w 965178"/>
                <a:gd name="connsiteY20" fmla="*/ 1075485 h 1514395"/>
                <a:gd name="connsiteX21" fmla="*/ 791468 w 965178"/>
                <a:gd name="connsiteY21" fmla="*/ 1077653 h 1514395"/>
                <a:gd name="connsiteX22" fmla="*/ 731256 w 965178"/>
                <a:gd name="connsiteY22" fmla="*/ 1004674 h 1514395"/>
                <a:gd name="connsiteX23" fmla="*/ 662471 w 965178"/>
                <a:gd name="connsiteY23" fmla="*/ 877950 h 1514395"/>
                <a:gd name="connsiteX24" fmla="*/ 692520 w 965178"/>
                <a:gd name="connsiteY24" fmla="*/ 822590 h 1514395"/>
                <a:gd name="connsiteX25" fmla="*/ 755205 w 965178"/>
                <a:gd name="connsiteY25" fmla="*/ 512101 h 1514395"/>
                <a:gd name="connsiteX26" fmla="*/ 692520 w 965178"/>
                <a:gd name="connsiteY26" fmla="*/ 201611 h 1514395"/>
                <a:gd name="connsiteX27" fmla="*/ 687759 w 965178"/>
                <a:gd name="connsiteY27" fmla="*/ 192839 h 1514395"/>
                <a:gd name="connsiteX28" fmla="*/ 731256 w 965178"/>
                <a:gd name="connsiteY28" fmla="*/ 112703 h 1514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965178" h="1514395">
                  <a:moveTo>
                    <a:pt x="662470" y="877950"/>
                  </a:moveTo>
                  <a:lnTo>
                    <a:pt x="731254" y="1004674"/>
                  </a:lnTo>
                  <a:lnTo>
                    <a:pt x="791466" y="1077653"/>
                  </a:lnTo>
                  <a:lnTo>
                    <a:pt x="735079" y="1153056"/>
                  </a:lnTo>
                  <a:cubicBezTo>
                    <a:pt x="714544" y="1177939"/>
                    <a:pt x="692838" y="1201820"/>
                    <a:pt x="670045" y="1224613"/>
                  </a:cubicBezTo>
                  <a:lnTo>
                    <a:pt x="652410" y="1240641"/>
                  </a:lnTo>
                  <a:lnTo>
                    <a:pt x="598488" y="1289647"/>
                  </a:lnTo>
                  <a:cubicBezTo>
                    <a:pt x="474074" y="1392323"/>
                    <a:pt x="324597" y="1465717"/>
                    <a:pt x="160609" y="1499273"/>
                  </a:cubicBezTo>
                  <a:lnTo>
                    <a:pt x="61527" y="1514395"/>
                  </a:lnTo>
                  <a:lnTo>
                    <a:pt x="58893" y="1497144"/>
                  </a:lnTo>
                  <a:cubicBezTo>
                    <a:pt x="45471" y="1431549"/>
                    <a:pt x="25674" y="1368276"/>
                    <a:pt x="179" y="1307998"/>
                  </a:cubicBezTo>
                  <a:lnTo>
                    <a:pt x="0" y="1307627"/>
                  </a:lnTo>
                  <a:lnTo>
                    <a:pt x="39091" y="1305653"/>
                  </a:lnTo>
                  <a:cubicBezTo>
                    <a:pt x="226798" y="1286590"/>
                    <a:pt x="395265" y="1202445"/>
                    <a:pt x="521572" y="1076139"/>
                  </a:cubicBezTo>
                  <a:lnTo>
                    <a:pt x="525986" y="1070790"/>
                  </a:lnTo>
                  <a:lnTo>
                    <a:pt x="525985" y="1070789"/>
                  </a:lnTo>
                  <a:lnTo>
                    <a:pt x="618973" y="958086"/>
                  </a:lnTo>
                  <a:close/>
                  <a:moveTo>
                    <a:pt x="824243" y="0"/>
                  </a:moveTo>
                  <a:lnTo>
                    <a:pt x="843560" y="31797"/>
                  </a:lnTo>
                  <a:cubicBezTo>
                    <a:pt x="921122" y="174573"/>
                    <a:pt x="965178" y="338192"/>
                    <a:pt x="965178" y="512101"/>
                  </a:cubicBezTo>
                  <a:cubicBezTo>
                    <a:pt x="965178" y="720791"/>
                    <a:pt x="901737" y="914663"/>
                    <a:pt x="793089" y="1075485"/>
                  </a:cubicBezTo>
                  <a:lnTo>
                    <a:pt x="791468" y="1077653"/>
                  </a:lnTo>
                  <a:lnTo>
                    <a:pt x="731256" y="1004674"/>
                  </a:lnTo>
                  <a:lnTo>
                    <a:pt x="662471" y="877950"/>
                  </a:lnTo>
                  <a:lnTo>
                    <a:pt x="692520" y="822590"/>
                  </a:lnTo>
                  <a:cubicBezTo>
                    <a:pt x="732884" y="727158"/>
                    <a:pt x="755205" y="622236"/>
                    <a:pt x="755205" y="512101"/>
                  </a:cubicBezTo>
                  <a:cubicBezTo>
                    <a:pt x="755205" y="401965"/>
                    <a:pt x="732884" y="297043"/>
                    <a:pt x="692520" y="201611"/>
                  </a:cubicBezTo>
                  <a:lnTo>
                    <a:pt x="687759" y="192839"/>
                  </a:lnTo>
                  <a:lnTo>
                    <a:pt x="731256" y="11270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</p:grpSp>
      <p:sp>
        <p:nvSpPr>
          <p:cNvPr id="16" name="TextBox 160">
            <a:extLst>
              <a:ext uri="{FF2B5EF4-FFF2-40B4-BE49-F238E27FC236}">
                <a16:creationId xmlns:a16="http://schemas.microsoft.com/office/drawing/2014/main" id="{EDF7E2A6-EEBE-466B-B712-F596B3786CA8}"/>
              </a:ext>
            </a:extLst>
          </p:cNvPr>
          <p:cNvSpPr txBox="1"/>
          <p:nvPr/>
        </p:nvSpPr>
        <p:spPr>
          <a:xfrm>
            <a:off x="4492878" y="2364576"/>
            <a:ext cx="75533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defPPr>
              <a:defRPr lang="zh-CN"/>
            </a:defPPr>
            <a:lvl1pPr algn="ctr">
              <a:defRPr sz="2000" b="1">
                <a:solidFill>
                  <a:srgbClr val="00A7AA"/>
                </a:solidFill>
                <a:latin typeface="+mn-ea"/>
              </a:defRPr>
            </a:lvl1pPr>
          </a:lstStyle>
          <a:p>
            <a:r>
              <a:rPr lang="en-US" sz="4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ea"/>
                <a:sym typeface="+mn-lt"/>
              </a:rPr>
              <a:t>01</a:t>
            </a:r>
          </a:p>
        </p:txBody>
      </p:sp>
      <p:sp>
        <p:nvSpPr>
          <p:cNvPr id="17" name="TextBox 161">
            <a:extLst>
              <a:ext uri="{FF2B5EF4-FFF2-40B4-BE49-F238E27FC236}">
                <a16:creationId xmlns:a16="http://schemas.microsoft.com/office/drawing/2014/main" id="{2217DE73-B834-44E4-8194-C5ED92571FB4}"/>
              </a:ext>
            </a:extLst>
          </p:cNvPr>
          <p:cNvSpPr txBox="1"/>
          <p:nvPr/>
        </p:nvSpPr>
        <p:spPr>
          <a:xfrm>
            <a:off x="5462258" y="3379713"/>
            <a:ext cx="75533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defPPr>
              <a:defRPr lang="zh-CN"/>
            </a:defPPr>
            <a:lvl1pPr algn="ctr">
              <a:defRPr sz="2000" b="1">
                <a:solidFill>
                  <a:srgbClr val="00A7AA"/>
                </a:solidFill>
                <a:latin typeface="+mn-ea"/>
              </a:defRPr>
            </a:lvl1pPr>
          </a:lstStyle>
          <a:p>
            <a:r>
              <a:rPr lang="en-US" sz="4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ea"/>
                <a:sym typeface="+mn-lt"/>
              </a:rPr>
              <a:t>02</a:t>
            </a:r>
          </a:p>
        </p:txBody>
      </p:sp>
      <p:sp>
        <p:nvSpPr>
          <p:cNvPr id="18" name="TextBox 162">
            <a:extLst>
              <a:ext uri="{FF2B5EF4-FFF2-40B4-BE49-F238E27FC236}">
                <a16:creationId xmlns:a16="http://schemas.microsoft.com/office/drawing/2014/main" id="{0B0944BC-8670-4A5F-9943-D47B34D50C5B}"/>
              </a:ext>
            </a:extLst>
          </p:cNvPr>
          <p:cNvSpPr txBox="1"/>
          <p:nvPr/>
        </p:nvSpPr>
        <p:spPr>
          <a:xfrm>
            <a:off x="6935686" y="3418808"/>
            <a:ext cx="75533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defPPr>
              <a:defRPr lang="zh-CN"/>
            </a:defPPr>
            <a:lvl1pPr algn="ctr">
              <a:defRPr sz="2000" b="1">
                <a:solidFill>
                  <a:srgbClr val="00A7AA"/>
                </a:solidFill>
                <a:latin typeface="+mn-ea"/>
              </a:defRPr>
            </a:lvl1pPr>
          </a:lstStyle>
          <a:p>
            <a:r>
              <a:rPr lang="en-US" sz="4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ea"/>
                <a:sym typeface="+mn-lt"/>
              </a:rPr>
              <a:t>03</a:t>
            </a:r>
          </a:p>
        </p:txBody>
      </p:sp>
      <p:sp>
        <p:nvSpPr>
          <p:cNvPr id="19" name="TextBox 163">
            <a:extLst>
              <a:ext uri="{FF2B5EF4-FFF2-40B4-BE49-F238E27FC236}">
                <a16:creationId xmlns:a16="http://schemas.microsoft.com/office/drawing/2014/main" id="{2F50175A-615B-407A-A26A-2F1B6F6E1291}"/>
              </a:ext>
            </a:extLst>
          </p:cNvPr>
          <p:cNvSpPr txBox="1"/>
          <p:nvPr/>
        </p:nvSpPr>
        <p:spPr>
          <a:xfrm>
            <a:off x="4614710" y="4563014"/>
            <a:ext cx="75533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defPPr>
              <a:defRPr lang="zh-CN"/>
            </a:defPPr>
            <a:lvl1pPr algn="ctr">
              <a:defRPr sz="2000" b="1">
                <a:solidFill>
                  <a:srgbClr val="00A7AA"/>
                </a:solidFill>
                <a:latin typeface="+mn-ea"/>
              </a:defRPr>
            </a:lvl1pPr>
          </a:lstStyle>
          <a:p>
            <a:r>
              <a:rPr lang="en-US" sz="4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ea"/>
                <a:sym typeface="+mn-lt"/>
              </a:rPr>
              <a:t>04</a:t>
            </a:r>
          </a:p>
        </p:txBody>
      </p:sp>
      <p:cxnSp>
        <p:nvCxnSpPr>
          <p:cNvPr id="20" name="Straight Connector 165">
            <a:extLst>
              <a:ext uri="{FF2B5EF4-FFF2-40B4-BE49-F238E27FC236}">
                <a16:creationId xmlns:a16="http://schemas.microsoft.com/office/drawing/2014/main" id="{19259B69-01EA-4C06-A17E-E3F98E323270}"/>
              </a:ext>
            </a:extLst>
          </p:cNvPr>
          <p:cNvCxnSpPr/>
          <p:nvPr/>
        </p:nvCxnSpPr>
        <p:spPr>
          <a:xfrm>
            <a:off x="8420793" y="3772750"/>
            <a:ext cx="47852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21B8A202-75B8-473F-9D44-83AE0302C817}"/>
              </a:ext>
            </a:extLst>
          </p:cNvPr>
          <p:cNvGrpSpPr/>
          <p:nvPr/>
        </p:nvGrpSpPr>
        <p:grpSpPr>
          <a:xfrm>
            <a:off x="6305708" y="2020595"/>
            <a:ext cx="1554771" cy="744512"/>
            <a:chOff x="6305707" y="2090395"/>
            <a:chExt cx="1554771" cy="744512"/>
          </a:xfrm>
        </p:grpSpPr>
        <p:cxnSp>
          <p:nvCxnSpPr>
            <p:cNvPr id="22" name="Straight Connector 166">
              <a:extLst>
                <a:ext uri="{FF2B5EF4-FFF2-40B4-BE49-F238E27FC236}">
                  <a16:creationId xmlns:a16="http://schemas.microsoft.com/office/drawing/2014/main" id="{703C9E89-5303-4ACA-B80F-272C8FF5EFC1}"/>
                </a:ext>
              </a:extLst>
            </p:cNvPr>
            <p:cNvCxnSpPr/>
            <p:nvPr/>
          </p:nvCxnSpPr>
          <p:spPr>
            <a:xfrm>
              <a:off x="7131366" y="2090964"/>
              <a:ext cx="729112" cy="0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168">
              <a:extLst>
                <a:ext uri="{FF2B5EF4-FFF2-40B4-BE49-F238E27FC236}">
                  <a16:creationId xmlns:a16="http://schemas.microsoft.com/office/drawing/2014/main" id="{3CB7CDD8-4C8E-4168-90F1-B26EFC20A6B8}"/>
                </a:ext>
              </a:extLst>
            </p:cNvPr>
            <p:cNvCxnSpPr/>
            <p:nvPr/>
          </p:nvCxnSpPr>
          <p:spPr>
            <a:xfrm flipV="1">
              <a:off x="6305707" y="2090395"/>
              <a:ext cx="825659" cy="744512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4" name="Straight Connector 169">
            <a:extLst>
              <a:ext uri="{FF2B5EF4-FFF2-40B4-BE49-F238E27FC236}">
                <a16:creationId xmlns:a16="http://schemas.microsoft.com/office/drawing/2014/main" id="{2D66389E-DEB1-4DA9-B965-5DB05AEC47C1}"/>
              </a:ext>
            </a:extLst>
          </p:cNvPr>
          <p:cNvCxnSpPr/>
          <p:nvPr/>
        </p:nvCxnSpPr>
        <p:spPr>
          <a:xfrm>
            <a:off x="3349593" y="4955052"/>
            <a:ext cx="55511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170">
            <a:extLst>
              <a:ext uri="{FF2B5EF4-FFF2-40B4-BE49-F238E27FC236}">
                <a16:creationId xmlns:a16="http://schemas.microsoft.com/office/drawing/2014/main" id="{B446D901-ECE6-4A7D-997B-958F8A269FFD}"/>
              </a:ext>
            </a:extLst>
          </p:cNvPr>
          <p:cNvCxnSpPr/>
          <p:nvPr/>
        </p:nvCxnSpPr>
        <p:spPr>
          <a:xfrm>
            <a:off x="3190017" y="2612640"/>
            <a:ext cx="564295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文本框 25">
            <a:extLst>
              <a:ext uri="{FF2B5EF4-FFF2-40B4-BE49-F238E27FC236}">
                <a16:creationId xmlns:a16="http://schemas.microsoft.com/office/drawing/2014/main" id="{0512EB97-236A-4868-B711-CD756DB41924}"/>
              </a:ext>
            </a:extLst>
          </p:cNvPr>
          <p:cNvSpPr txBox="1"/>
          <p:nvPr/>
        </p:nvSpPr>
        <p:spPr>
          <a:xfrm>
            <a:off x="677175" y="2612641"/>
            <a:ext cx="250994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27" name="Rectangle 36">
            <a:extLst>
              <a:ext uri="{FF2B5EF4-FFF2-40B4-BE49-F238E27FC236}">
                <a16:creationId xmlns:a16="http://schemas.microsoft.com/office/drawing/2014/main" id="{C98E9BEC-D988-450C-B782-13EF0A7587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6532" y="2356032"/>
            <a:ext cx="12105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/>
          <a:p>
            <a:pPr algn="r"/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添加标题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412C16D4-D2A8-4B3B-A4B1-70B2878099E3}"/>
              </a:ext>
            </a:extLst>
          </p:cNvPr>
          <p:cNvSpPr txBox="1"/>
          <p:nvPr/>
        </p:nvSpPr>
        <p:spPr>
          <a:xfrm>
            <a:off x="836024" y="4983986"/>
            <a:ext cx="2509947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29" name="Rectangle 36">
            <a:extLst>
              <a:ext uri="{FF2B5EF4-FFF2-40B4-BE49-F238E27FC236}">
                <a16:creationId xmlns:a16="http://schemas.microsoft.com/office/drawing/2014/main" id="{84FF0794-5CA1-4370-B90F-FBB8796729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5381" y="4727377"/>
            <a:ext cx="12105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/>
          <a:p>
            <a:pPr algn="r"/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添加标题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43E2F48E-F557-41DC-B2D3-F863EDB5606F}"/>
              </a:ext>
            </a:extLst>
          </p:cNvPr>
          <p:cNvSpPr txBox="1"/>
          <p:nvPr/>
        </p:nvSpPr>
        <p:spPr>
          <a:xfrm>
            <a:off x="7929461" y="1939219"/>
            <a:ext cx="24947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1" name="Rectangle 36">
            <a:extLst>
              <a:ext uri="{FF2B5EF4-FFF2-40B4-BE49-F238E27FC236}">
                <a16:creationId xmlns:a16="http://schemas.microsoft.com/office/drawing/2014/main" id="{96539D56-4BB1-4F6F-802C-FD35641D52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9460" y="1682610"/>
            <a:ext cx="12105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/>
          <a:p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添加标题</a:t>
            </a: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7EE50654-C2D5-4918-9EB0-F4D5CB36C4AF}"/>
              </a:ext>
            </a:extLst>
          </p:cNvPr>
          <p:cNvSpPr txBox="1"/>
          <p:nvPr/>
        </p:nvSpPr>
        <p:spPr>
          <a:xfrm>
            <a:off x="8899317" y="3799347"/>
            <a:ext cx="24947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3" name="Rectangle 36">
            <a:extLst>
              <a:ext uri="{FF2B5EF4-FFF2-40B4-BE49-F238E27FC236}">
                <a16:creationId xmlns:a16="http://schemas.microsoft.com/office/drawing/2014/main" id="{17C71EC1-851C-4D01-A2D0-6FA3A11F99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99316" y="3542738"/>
            <a:ext cx="12105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/>
          <a:p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添加标题</a:t>
            </a:r>
          </a:p>
        </p:txBody>
      </p:sp>
    </p:spTree>
    <p:extLst>
      <p:ext uri="{BB962C8B-B14F-4D97-AF65-F5344CB8AC3E}">
        <p14:creationId xmlns:p14="http://schemas.microsoft.com/office/powerpoint/2010/main" val="2408493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:blinds dir="vert"/>
      </p:transition>
    </mc:Choice>
    <mc:Fallback xmlns="">
      <p:transition spd="slow" advClick="0" advTm="0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 tmFilter="0,0; .5, 1; 1, 1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650"/>
                            </p:stCondLst>
                            <p:childTnLst>
                              <p:par>
                                <p:cTn id="21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3" dur="1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6" dur="1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9" dur="1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2" dur="1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150"/>
                            </p:stCondLst>
                            <p:childTnLst>
                              <p:par>
                                <p:cTn id="3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3650"/>
                            </p:stCondLst>
                            <p:childTnLst>
                              <p:par>
                                <p:cTn id="5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7" dur="7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6" dur="7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4400"/>
                            </p:stCondLst>
                            <p:childTnLst>
                              <p:par>
                                <p:cTn id="6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0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3" dur="7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6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9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7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5" dur="7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8" dur="7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6" grpId="0" animBg="1"/>
      <p:bldP spid="10" grpId="0" animBg="1"/>
      <p:bldP spid="11" grpId="0" animBg="1"/>
      <p:bldP spid="16" grpId="0"/>
      <p:bldP spid="17" grpId="0"/>
      <p:bldP spid="18" grpId="0"/>
      <p:bldP spid="19" grpId="0"/>
      <p:bldP spid="26" grpId="0"/>
      <p:bldP spid="27" grpId="0"/>
      <p:bldP spid="28" grpId="0"/>
      <p:bldP spid="29" grpId="0"/>
      <p:bldP spid="30" grpId="0"/>
      <p:bldP spid="31" grpId="0"/>
      <p:bldP spid="32" grpId="0"/>
      <p:bldP spid="33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3643088-BADE-4B2C-8D16-84C355AB00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25203"/>
            <a:ext cx="12202211" cy="6858000"/>
          </a:xfrm>
          <a:prstGeom prst="rect">
            <a:avLst/>
          </a:prstGeom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7218F93-96F9-462F-BAFB-7E145859AED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99171" y="-99171"/>
            <a:ext cx="1058956" cy="1257300"/>
          </a:xfrm>
          <a:prstGeom prst="rect">
            <a:avLst/>
          </a:prstGeom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EC3E81A0-9853-4F50-A63A-07CECD490F96}"/>
              </a:ext>
            </a:extLst>
          </p:cNvPr>
          <p:cNvSpPr txBox="1"/>
          <p:nvPr/>
        </p:nvSpPr>
        <p:spPr>
          <a:xfrm>
            <a:off x="1367227" y="80984"/>
            <a:ext cx="24514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ART FOUR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17F88ED-E918-45C7-8ED4-BD8E20C0EB3A}"/>
              </a:ext>
            </a:extLst>
          </p:cNvPr>
          <p:cNvSpPr txBox="1"/>
          <p:nvPr/>
        </p:nvSpPr>
        <p:spPr>
          <a:xfrm>
            <a:off x="3583563" y="90631"/>
            <a:ext cx="2957124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000" spc="600" dirty="0">
                <a:latin typeface="+mn-lt"/>
                <a:ea typeface="+mn-ea"/>
                <a:cs typeface="+mn-ea"/>
                <a:sym typeface="+mn-lt"/>
              </a:rPr>
              <a:t>教学反思</a:t>
            </a:r>
          </a:p>
        </p:txBody>
      </p:sp>
      <p:sp>
        <p:nvSpPr>
          <p:cNvPr id="6" name="任意多边形 23">
            <a:extLst>
              <a:ext uri="{FF2B5EF4-FFF2-40B4-BE49-F238E27FC236}">
                <a16:creationId xmlns:a16="http://schemas.microsoft.com/office/drawing/2014/main" id="{369AA3A8-8D3B-4098-85F6-723152969FCF}"/>
              </a:ext>
            </a:extLst>
          </p:cNvPr>
          <p:cNvSpPr/>
          <p:nvPr/>
        </p:nvSpPr>
        <p:spPr>
          <a:xfrm>
            <a:off x="4021161" y="2249379"/>
            <a:ext cx="1644628" cy="45719"/>
          </a:xfrm>
          <a:custGeom>
            <a:avLst/>
            <a:gdLst>
              <a:gd name="connsiteX0" fmla="*/ 2423160 w 2423160"/>
              <a:gd name="connsiteY0" fmla="*/ 0 h 0"/>
              <a:gd name="connsiteX1" fmla="*/ 0 w 242316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23160">
                <a:moveTo>
                  <a:pt x="2423160" y="0"/>
                </a:moveTo>
                <a:lnTo>
                  <a:pt x="0" y="0"/>
                </a:lnTo>
              </a:path>
            </a:pathLst>
          </a:custGeom>
          <a:noFill/>
          <a:ln w="12700">
            <a:solidFill>
              <a:srgbClr val="6FCEFE"/>
            </a:solidFill>
            <a:prstDash val="dash"/>
            <a:headEnd type="oval" w="med" len="med"/>
            <a:tailEnd type="oval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0" name="任意多边形 24">
            <a:extLst>
              <a:ext uri="{FF2B5EF4-FFF2-40B4-BE49-F238E27FC236}">
                <a16:creationId xmlns:a16="http://schemas.microsoft.com/office/drawing/2014/main" id="{5DDCF1EA-D5BF-4837-AA6B-6B8A08099CC3}"/>
              </a:ext>
            </a:extLst>
          </p:cNvPr>
          <p:cNvSpPr/>
          <p:nvPr/>
        </p:nvSpPr>
        <p:spPr>
          <a:xfrm>
            <a:off x="4021161" y="3223974"/>
            <a:ext cx="848252" cy="116294"/>
          </a:xfrm>
          <a:custGeom>
            <a:avLst/>
            <a:gdLst>
              <a:gd name="connsiteX0" fmla="*/ 1040130 w 1040130"/>
              <a:gd name="connsiteY0" fmla="*/ 0 h 171450"/>
              <a:gd name="connsiteX1" fmla="*/ 1040130 w 1040130"/>
              <a:gd name="connsiteY1" fmla="*/ 171450 h 171450"/>
              <a:gd name="connsiteX2" fmla="*/ 0 w 1040130"/>
              <a:gd name="connsiteY2" fmla="*/ 17145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0130" h="171450">
                <a:moveTo>
                  <a:pt x="1040130" y="0"/>
                </a:moveTo>
                <a:lnTo>
                  <a:pt x="1040130" y="171450"/>
                </a:lnTo>
                <a:lnTo>
                  <a:pt x="0" y="171450"/>
                </a:lnTo>
              </a:path>
            </a:pathLst>
          </a:custGeom>
          <a:noFill/>
          <a:ln w="12700">
            <a:solidFill>
              <a:srgbClr val="60A757"/>
            </a:solidFill>
            <a:prstDash val="dash"/>
            <a:headEnd type="oval" w="med" len="med"/>
            <a:tailEnd type="oval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1" name="任意多边形 25">
            <a:extLst>
              <a:ext uri="{FF2B5EF4-FFF2-40B4-BE49-F238E27FC236}">
                <a16:creationId xmlns:a16="http://schemas.microsoft.com/office/drawing/2014/main" id="{0436259C-F1E4-42E6-9652-9CB2F5638D00}"/>
              </a:ext>
            </a:extLst>
          </p:cNvPr>
          <p:cNvSpPr/>
          <p:nvPr/>
        </p:nvSpPr>
        <p:spPr>
          <a:xfrm>
            <a:off x="4021161" y="4412796"/>
            <a:ext cx="546383" cy="0"/>
          </a:xfrm>
          <a:custGeom>
            <a:avLst/>
            <a:gdLst>
              <a:gd name="connsiteX0" fmla="*/ 731520 w 731520"/>
              <a:gd name="connsiteY0" fmla="*/ 0 h 0"/>
              <a:gd name="connsiteX1" fmla="*/ 0 w 73152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31520">
                <a:moveTo>
                  <a:pt x="731520" y="0"/>
                </a:moveTo>
                <a:lnTo>
                  <a:pt x="0" y="0"/>
                </a:lnTo>
              </a:path>
            </a:pathLst>
          </a:custGeom>
          <a:noFill/>
          <a:ln w="12700">
            <a:solidFill>
              <a:srgbClr val="F57B26"/>
            </a:solidFill>
            <a:prstDash val="dash"/>
            <a:headEnd type="oval" w="med" len="med"/>
            <a:tailEnd type="oval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2" name="任意多边形 26">
            <a:extLst>
              <a:ext uri="{FF2B5EF4-FFF2-40B4-BE49-F238E27FC236}">
                <a16:creationId xmlns:a16="http://schemas.microsoft.com/office/drawing/2014/main" id="{AFB888F8-B238-40C8-BECA-DD473FB59C39}"/>
              </a:ext>
            </a:extLst>
          </p:cNvPr>
          <p:cNvSpPr/>
          <p:nvPr/>
        </p:nvSpPr>
        <p:spPr>
          <a:xfrm>
            <a:off x="6703578" y="5330995"/>
            <a:ext cx="1449961" cy="45719"/>
          </a:xfrm>
          <a:custGeom>
            <a:avLst/>
            <a:gdLst>
              <a:gd name="connsiteX0" fmla="*/ 0 w 2217420"/>
              <a:gd name="connsiteY0" fmla="*/ 0 h 0"/>
              <a:gd name="connsiteX1" fmla="*/ 2217420 w 221742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217420">
                <a:moveTo>
                  <a:pt x="0" y="0"/>
                </a:moveTo>
                <a:lnTo>
                  <a:pt x="2217420" y="0"/>
                </a:lnTo>
              </a:path>
            </a:pathLst>
          </a:custGeom>
          <a:noFill/>
          <a:ln w="12700">
            <a:solidFill>
              <a:srgbClr val="6FCEFE"/>
            </a:solidFill>
            <a:prstDash val="dash"/>
            <a:headEnd type="oval" w="med" len="med"/>
            <a:tailEnd type="oval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3" name="任意多边形 27">
            <a:extLst>
              <a:ext uri="{FF2B5EF4-FFF2-40B4-BE49-F238E27FC236}">
                <a16:creationId xmlns:a16="http://schemas.microsoft.com/office/drawing/2014/main" id="{9C395E63-A3A0-4F4C-AAA8-15F74DFC29E5}"/>
              </a:ext>
            </a:extLst>
          </p:cNvPr>
          <p:cNvSpPr/>
          <p:nvPr/>
        </p:nvSpPr>
        <p:spPr>
          <a:xfrm>
            <a:off x="7490462" y="4292868"/>
            <a:ext cx="663079" cy="190158"/>
          </a:xfrm>
          <a:custGeom>
            <a:avLst/>
            <a:gdLst>
              <a:gd name="connsiteX0" fmla="*/ 0 w 1303020"/>
              <a:gd name="connsiteY0" fmla="*/ 251460 h 251460"/>
              <a:gd name="connsiteX1" fmla="*/ 0 w 1303020"/>
              <a:gd name="connsiteY1" fmla="*/ 0 h 251460"/>
              <a:gd name="connsiteX2" fmla="*/ 1303020 w 1303020"/>
              <a:gd name="connsiteY2" fmla="*/ 0 h 251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03020" h="251460">
                <a:moveTo>
                  <a:pt x="0" y="251460"/>
                </a:moveTo>
                <a:lnTo>
                  <a:pt x="0" y="0"/>
                </a:lnTo>
                <a:lnTo>
                  <a:pt x="1303020" y="0"/>
                </a:lnTo>
              </a:path>
            </a:pathLst>
          </a:custGeom>
          <a:noFill/>
          <a:ln w="12700">
            <a:solidFill>
              <a:srgbClr val="60A757"/>
            </a:solidFill>
            <a:prstDash val="dash"/>
            <a:headEnd type="oval" w="med" len="med"/>
            <a:tailEnd type="oval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4" name="任意多边形 28">
            <a:extLst>
              <a:ext uri="{FF2B5EF4-FFF2-40B4-BE49-F238E27FC236}">
                <a16:creationId xmlns:a16="http://schemas.microsoft.com/office/drawing/2014/main" id="{3F4E6B2C-D7D1-4D3D-82FE-A878DB12A646}"/>
              </a:ext>
            </a:extLst>
          </p:cNvPr>
          <p:cNvSpPr/>
          <p:nvPr/>
        </p:nvSpPr>
        <p:spPr>
          <a:xfrm>
            <a:off x="7530935" y="2960677"/>
            <a:ext cx="622604" cy="45719"/>
          </a:xfrm>
          <a:custGeom>
            <a:avLst/>
            <a:gdLst>
              <a:gd name="connsiteX0" fmla="*/ 0 w 1440180"/>
              <a:gd name="connsiteY0" fmla="*/ 0 h 0"/>
              <a:gd name="connsiteX1" fmla="*/ 1440180 w 14401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440180">
                <a:moveTo>
                  <a:pt x="0" y="0"/>
                </a:moveTo>
                <a:lnTo>
                  <a:pt x="1440180" y="0"/>
                </a:lnTo>
              </a:path>
            </a:pathLst>
          </a:custGeom>
          <a:noFill/>
          <a:ln w="12700">
            <a:solidFill>
              <a:srgbClr val="F57B26"/>
            </a:solidFill>
            <a:prstDash val="dash"/>
            <a:headEnd type="oval" w="med" len="med"/>
            <a:tailEnd type="oval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F0F37115-0EED-4500-A010-22ECE928573A}"/>
              </a:ext>
            </a:extLst>
          </p:cNvPr>
          <p:cNvSpPr/>
          <p:nvPr/>
        </p:nvSpPr>
        <p:spPr bwMode="auto">
          <a:xfrm rot="20700000">
            <a:off x="7019899" y="2776852"/>
            <a:ext cx="1025653" cy="1501129"/>
          </a:xfrm>
          <a:custGeom>
            <a:avLst/>
            <a:gdLst>
              <a:gd name="T0" fmla="*/ 400 w 508"/>
              <a:gd name="T1" fmla="*/ 472 h 743"/>
              <a:gd name="T2" fmla="*/ 489 w 508"/>
              <a:gd name="T3" fmla="*/ 491 h 743"/>
              <a:gd name="T4" fmla="*/ 503 w 508"/>
              <a:gd name="T5" fmla="*/ 477 h 743"/>
              <a:gd name="T6" fmla="*/ 430 w 508"/>
              <a:gd name="T7" fmla="*/ 246 h 743"/>
              <a:gd name="T8" fmla="*/ 359 w 508"/>
              <a:gd name="T9" fmla="*/ 23 h 743"/>
              <a:gd name="T10" fmla="*/ 330 w 508"/>
              <a:gd name="T11" fmla="*/ 19 h 743"/>
              <a:gd name="T12" fmla="*/ 174 w 508"/>
              <a:gd name="T13" fmla="*/ 190 h 743"/>
              <a:gd name="T14" fmla="*/ 13 w 508"/>
              <a:gd name="T15" fmla="*/ 365 h 743"/>
              <a:gd name="T16" fmla="*/ 16 w 508"/>
              <a:gd name="T17" fmla="*/ 387 h 743"/>
              <a:gd name="T18" fmla="*/ 125 w 508"/>
              <a:gd name="T19" fmla="*/ 411 h 743"/>
              <a:gd name="T20" fmla="*/ 55 w 508"/>
              <a:gd name="T21" fmla="*/ 607 h 743"/>
              <a:gd name="T22" fmla="*/ 62 w 508"/>
              <a:gd name="T23" fmla="*/ 630 h 743"/>
              <a:gd name="T24" fmla="*/ 266 w 508"/>
              <a:gd name="T25" fmla="*/ 734 h 743"/>
              <a:gd name="T26" fmla="*/ 294 w 508"/>
              <a:gd name="T27" fmla="*/ 726 h 743"/>
              <a:gd name="T28" fmla="*/ 382 w 508"/>
              <a:gd name="T29" fmla="*/ 483 h 743"/>
              <a:gd name="T30" fmla="*/ 385 w 508"/>
              <a:gd name="T31" fmla="*/ 469 h 743"/>
              <a:gd name="T32" fmla="*/ 400 w 508"/>
              <a:gd name="T33" fmla="*/ 472 h 7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08" h="743">
                <a:moveTo>
                  <a:pt x="400" y="472"/>
                </a:moveTo>
                <a:cubicBezTo>
                  <a:pt x="489" y="491"/>
                  <a:pt x="489" y="491"/>
                  <a:pt x="489" y="491"/>
                </a:cubicBezTo>
                <a:cubicBezTo>
                  <a:pt x="506" y="496"/>
                  <a:pt x="508" y="494"/>
                  <a:pt x="503" y="477"/>
                </a:cubicBezTo>
                <a:cubicBezTo>
                  <a:pt x="430" y="246"/>
                  <a:pt x="430" y="246"/>
                  <a:pt x="430" y="246"/>
                </a:cubicBezTo>
                <a:cubicBezTo>
                  <a:pt x="359" y="23"/>
                  <a:pt x="359" y="23"/>
                  <a:pt x="359" y="23"/>
                </a:cubicBezTo>
                <a:cubicBezTo>
                  <a:pt x="352" y="0"/>
                  <a:pt x="338" y="9"/>
                  <a:pt x="330" y="19"/>
                </a:cubicBezTo>
                <a:cubicBezTo>
                  <a:pt x="174" y="190"/>
                  <a:pt x="174" y="190"/>
                  <a:pt x="174" y="190"/>
                </a:cubicBezTo>
                <a:cubicBezTo>
                  <a:pt x="13" y="365"/>
                  <a:pt x="13" y="365"/>
                  <a:pt x="13" y="365"/>
                </a:cubicBezTo>
                <a:cubicBezTo>
                  <a:pt x="0" y="378"/>
                  <a:pt x="2" y="385"/>
                  <a:pt x="16" y="387"/>
                </a:cubicBezTo>
                <a:cubicBezTo>
                  <a:pt x="125" y="411"/>
                  <a:pt x="125" y="411"/>
                  <a:pt x="125" y="411"/>
                </a:cubicBezTo>
                <a:cubicBezTo>
                  <a:pt x="109" y="485"/>
                  <a:pt x="84" y="553"/>
                  <a:pt x="55" y="607"/>
                </a:cubicBezTo>
                <a:cubicBezTo>
                  <a:pt x="50" y="618"/>
                  <a:pt x="53" y="623"/>
                  <a:pt x="62" y="630"/>
                </a:cubicBezTo>
                <a:cubicBezTo>
                  <a:pt x="266" y="734"/>
                  <a:pt x="266" y="734"/>
                  <a:pt x="266" y="734"/>
                </a:cubicBezTo>
                <a:cubicBezTo>
                  <a:pt x="282" y="741"/>
                  <a:pt x="285" y="743"/>
                  <a:pt x="294" y="726"/>
                </a:cubicBezTo>
                <a:cubicBezTo>
                  <a:pt x="333" y="650"/>
                  <a:pt x="362" y="573"/>
                  <a:pt x="382" y="483"/>
                </a:cubicBezTo>
                <a:cubicBezTo>
                  <a:pt x="385" y="469"/>
                  <a:pt x="385" y="469"/>
                  <a:pt x="385" y="469"/>
                </a:cubicBezTo>
                <a:lnTo>
                  <a:pt x="400" y="472"/>
                </a:lnTo>
                <a:close/>
              </a:path>
            </a:pathLst>
          </a:custGeom>
          <a:solidFill>
            <a:srgbClr val="F57B2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6" name="Freeform 11">
            <a:extLst>
              <a:ext uri="{FF2B5EF4-FFF2-40B4-BE49-F238E27FC236}">
                <a16:creationId xmlns:a16="http://schemas.microsoft.com/office/drawing/2014/main" id="{7E6DC159-1E16-4857-A832-563DB71E1D22}"/>
              </a:ext>
            </a:extLst>
          </p:cNvPr>
          <p:cNvSpPr/>
          <p:nvPr/>
        </p:nvSpPr>
        <p:spPr bwMode="auto">
          <a:xfrm rot="20700000">
            <a:off x="4284715" y="3387245"/>
            <a:ext cx="1036324" cy="1505872"/>
          </a:xfrm>
          <a:custGeom>
            <a:avLst/>
            <a:gdLst>
              <a:gd name="T0" fmla="*/ 109 w 513"/>
              <a:gd name="T1" fmla="*/ 277 h 745"/>
              <a:gd name="T2" fmla="*/ 19 w 513"/>
              <a:gd name="T3" fmla="*/ 262 h 745"/>
              <a:gd name="T4" fmla="*/ 5 w 513"/>
              <a:gd name="T5" fmla="*/ 277 h 745"/>
              <a:gd name="T6" fmla="*/ 92 w 513"/>
              <a:gd name="T7" fmla="*/ 504 h 745"/>
              <a:gd name="T8" fmla="*/ 175 w 513"/>
              <a:gd name="T9" fmla="*/ 722 h 745"/>
              <a:gd name="T10" fmla="*/ 204 w 513"/>
              <a:gd name="T11" fmla="*/ 725 h 745"/>
              <a:gd name="T12" fmla="*/ 351 w 513"/>
              <a:gd name="T13" fmla="*/ 546 h 745"/>
              <a:gd name="T14" fmla="*/ 500 w 513"/>
              <a:gd name="T15" fmla="*/ 362 h 745"/>
              <a:gd name="T16" fmla="*/ 497 w 513"/>
              <a:gd name="T17" fmla="*/ 339 h 745"/>
              <a:gd name="T18" fmla="*/ 387 w 513"/>
              <a:gd name="T19" fmla="*/ 321 h 745"/>
              <a:gd name="T20" fmla="*/ 445 w 513"/>
              <a:gd name="T21" fmla="*/ 122 h 745"/>
              <a:gd name="T22" fmla="*/ 437 w 513"/>
              <a:gd name="T23" fmla="*/ 100 h 745"/>
              <a:gd name="T24" fmla="*/ 227 w 513"/>
              <a:gd name="T25" fmla="*/ 8 h 745"/>
              <a:gd name="T26" fmla="*/ 200 w 513"/>
              <a:gd name="T27" fmla="*/ 17 h 745"/>
              <a:gd name="T28" fmla="*/ 126 w 513"/>
              <a:gd name="T29" fmla="*/ 264 h 745"/>
              <a:gd name="T30" fmla="*/ 124 w 513"/>
              <a:gd name="T31" fmla="*/ 279 h 745"/>
              <a:gd name="T32" fmla="*/ 109 w 513"/>
              <a:gd name="T33" fmla="*/ 277 h 7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13" h="745">
                <a:moveTo>
                  <a:pt x="109" y="277"/>
                </a:moveTo>
                <a:cubicBezTo>
                  <a:pt x="19" y="262"/>
                  <a:pt x="19" y="262"/>
                  <a:pt x="19" y="262"/>
                </a:cubicBezTo>
                <a:cubicBezTo>
                  <a:pt x="1" y="259"/>
                  <a:pt x="0" y="261"/>
                  <a:pt x="5" y="277"/>
                </a:cubicBezTo>
                <a:cubicBezTo>
                  <a:pt x="92" y="504"/>
                  <a:pt x="92" y="504"/>
                  <a:pt x="92" y="504"/>
                </a:cubicBezTo>
                <a:cubicBezTo>
                  <a:pt x="175" y="722"/>
                  <a:pt x="175" y="722"/>
                  <a:pt x="175" y="722"/>
                </a:cubicBezTo>
                <a:cubicBezTo>
                  <a:pt x="184" y="745"/>
                  <a:pt x="197" y="735"/>
                  <a:pt x="204" y="725"/>
                </a:cubicBezTo>
                <a:cubicBezTo>
                  <a:pt x="351" y="546"/>
                  <a:pt x="351" y="546"/>
                  <a:pt x="351" y="546"/>
                </a:cubicBezTo>
                <a:cubicBezTo>
                  <a:pt x="500" y="362"/>
                  <a:pt x="500" y="362"/>
                  <a:pt x="500" y="362"/>
                </a:cubicBezTo>
                <a:cubicBezTo>
                  <a:pt x="513" y="347"/>
                  <a:pt x="511" y="341"/>
                  <a:pt x="497" y="339"/>
                </a:cubicBezTo>
                <a:cubicBezTo>
                  <a:pt x="387" y="321"/>
                  <a:pt x="387" y="321"/>
                  <a:pt x="387" y="321"/>
                </a:cubicBezTo>
                <a:cubicBezTo>
                  <a:pt x="398" y="247"/>
                  <a:pt x="420" y="178"/>
                  <a:pt x="445" y="122"/>
                </a:cubicBezTo>
                <a:cubicBezTo>
                  <a:pt x="450" y="111"/>
                  <a:pt x="447" y="106"/>
                  <a:pt x="437" y="100"/>
                </a:cubicBezTo>
                <a:cubicBezTo>
                  <a:pt x="227" y="8"/>
                  <a:pt x="227" y="8"/>
                  <a:pt x="227" y="8"/>
                </a:cubicBezTo>
                <a:cubicBezTo>
                  <a:pt x="211" y="1"/>
                  <a:pt x="208" y="0"/>
                  <a:pt x="200" y="17"/>
                </a:cubicBezTo>
                <a:cubicBezTo>
                  <a:pt x="165" y="95"/>
                  <a:pt x="141" y="174"/>
                  <a:pt x="126" y="264"/>
                </a:cubicBezTo>
                <a:cubicBezTo>
                  <a:pt x="124" y="279"/>
                  <a:pt x="124" y="279"/>
                  <a:pt x="124" y="279"/>
                </a:cubicBezTo>
                <a:lnTo>
                  <a:pt x="109" y="277"/>
                </a:lnTo>
                <a:close/>
              </a:path>
            </a:pathLst>
          </a:custGeom>
          <a:solidFill>
            <a:srgbClr val="F57B2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7" name="Freeform 6">
            <a:extLst>
              <a:ext uri="{FF2B5EF4-FFF2-40B4-BE49-F238E27FC236}">
                <a16:creationId xmlns:a16="http://schemas.microsoft.com/office/drawing/2014/main" id="{6169AF9F-7CC3-43AB-BFF5-F3116D22C52D}"/>
              </a:ext>
            </a:extLst>
          </p:cNvPr>
          <p:cNvSpPr/>
          <p:nvPr/>
        </p:nvSpPr>
        <p:spPr bwMode="auto">
          <a:xfrm rot="20700000">
            <a:off x="6235317" y="4812481"/>
            <a:ext cx="792065" cy="611834"/>
          </a:xfrm>
          <a:custGeom>
            <a:avLst/>
            <a:gdLst>
              <a:gd name="T0" fmla="*/ 24 w 392"/>
              <a:gd name="T1" fmla="*/ 38 h 303"/>
              <a:gd name="T2" fmla="*/ 1 w 392"/>
              <a:gd name="T3" fmla="*/ 274 h 303"/>
              <a:gd name="T4" fmla="*/ 18 w 392"/>
              <a:gd name="T5" fmla="*/ 290 h 303"/>
              <a:gd name="T6" fmla="*/ 378 w 392"/>
              <a:gd name="T7" fmla="*/ 253 h 303"/>
              <a:gd name="T8" fmla="*/ 387 w 392"/>
              <a:gd name="T9" fmla="*/ 235 h 303"/>
              <a:gd name="T10" fmla="*/ 305 w 392"/>
              <a:gd name="T11" fmla="*/ 8 h 303"/>
              <a:gd name="T12" fmla="*/ 292 w 392"/>
              <a:gd name="T13" fmla="*/ 2 h 303"/>
              <a:gd name="T14" fmla="*/ 41 w 392"/>
              <a:gd name="T15" fmla="*/ 25 h 303"/>
              <a:gd name="T16" fmla="*/ 24 w 392"/>
              <a:gd name="T17" fmla="*/ 38 h 3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92" h="303">
                <a:moveTo>
                  <a:pt x="24" y="38"/>
                </a:moveTo>
                <a:cubicBezTo>
                  <a:pt x="1" y="274"/>
                  <a:pt x="1" y="274"/>
                  <a:pt x="1" y="274"/>
                </a:cubicBezTo>
                <a:cubicBezTo>
                  <a:pt x="0" y="289"/>
                  <a:pt x="8" y="289"/>
                  <a:pt x="18" y="290"/>
                </a:cubicBezTo>
                <a:cubicBezTo>
                  <a:pt x="86" y="296"/>
                  <a:pt x="227" y="303"/>
                  <a:pt x="378" y="253"/>
                </a:cubicBezTo>
                <a:cubicBezTo>
                  <a:pt x="392" y="248"/>
                  <a:pt x="387" y="235"/>
                  <a:pt x="387" y="235"/>
                </a:cubicBezTo>
                <a:cubicBezTo>
                  <a:pt x="305" y="8"/>
                  <a:pt x="305" y="8"/>
                  <a:pt x="305" y="8"/>
                </a:cubicBezTo>
                <a:cubicBezTo>
                  <a:pt x="304" y="4"/>
                  <a:pt x="301" y="0"/>
                  <a:pt x="292" y="2"/>
                </a:cubicBezTo>
                <a:cubicBezTo>
                  <a:pt x="195" y="28"/>
                  <a:pt x="97" y="28"/>
                  <a:pt x="41" y="25"/>
                </a:cubicBezTo>
                <a:cubicBezTo>
                  <a:pt x="27" y="24"/>
                  <a:pt x="25" y="28"/>
                  <a:pt x="24" y="38"/>
                </a:cubicBezTo>
                <a:close/>
              </a:path>
            </a:pathLst>
          </a:custGeom>
          <a:solidFill>
            <a:srgbClr val="6FCEF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8" name="Freeform 7">
            <a:extLst>
              <a:ext uri="{FF2B5EF4-FFF2-40B4-BE49-F238E27FC236}">
                <a16:creationId xmlns:a16="http://schemas.microsoft.com/office/drawing/2014/main" id="{35BDB107-435C-4416-8E2B-7991A3C0625E}"/>
              </a:ext>
            </a:extLst>
          </p:cNvPr>
          <p:cNvSpPr/>
          <p:nvPr/>
        </p:nvSpPr>
        <p:spPr bwMode="auto">
          <a:xfrm rot="20700000">
            <a:off x="6927061" y="4270060"/>
            <a:ext cx="809851" cy="755307"/>
          </a:xfrm>
          <a:custGeom>
            <a:avLst/>
            <a:gdLst>
              <a:gd name="T0" fmla="*/ 387 w 401"/>
              <a:gd name="T1" fmla="*/ 147 h 374"/>
              <a:gd name="T2" fmla="*/ 206 w 401"/>
              <a:gd name="T3" fmla="*/ 8 h 374"/>
              <a:gd name="T4" fmla="*/ 184 w 401"/>
              <a:gd name="T5" fmla="*/ 10 h 374"/>
              <a:gd name="T6" fmla="*/ 14 w 401"/>
              <a:gd name="T7" fmla="*/ 132 h 374"/>
              <a:gd name="T8" fmla="*/ 5 w 401"/>
              <a:gd name="T9" fmla="*/ 157 h 374"/>
              <a:gd name="T10" fmla="*/ 107 w 401"/>
              <a:gd name="T11" fmla="*/ 364 h 374"/>
              <a:gd name="T12" fmla="*/ 134 w 401"/>
              <a:gd name="T13" fmla="*/ 369 h 374"/>
              <a:gd name="T14" fmla="*/ 368 w 401"/>
              <a:gd name="T15" fmla="*/ 202 h 374"/>
              <a:gd name="T16" fmla="*/ 391 w 401"/>
              <a:gd name="T17" fmla="*/ 178 h 374"/>
              <a:gd name="T18" fmla="*/ 387 w 401"/>
              <a:gd name="T19" fmla="*/ 147 h 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01" h="374">
                <a:moveTo>
                  <a:pt x="387" y="147"/>
                </a:moveTo>
                <a:cubicBezTo>
                  <a:pt x="206" y="8"/>
                  <a:pt x="206" y="8"/>
                  <a:pt x="206" y="8"/>
                </a:cubicBezTo>
                <a:cubicBezTo>
                  <a:pt x="200" y="4"/>
                  <a:pt x="193" y="0"/>
                  <a:pt x="184" y="10"/>
                </a:cubicBezTo>
                <a:cubicBezTo>
                  <a:pt x="130" y="66"/>
                  <a:pt x="74" y="102"/>
                  <a:pt x="14" y="132"/>
                </a:cubicBezTo>
                <a:cubicBezTo>
                  <a:pt x="0" y="140"/>
                  <a:pt x="0" y="145"/>
                  <a:pt x="5" y="157"/>
                </a:cubicBezTo>
                <a:cubicBezTo>
                  <a:pt x="107" y="364"/>
                  <a:pt x="107" y="364"/>
                  <a:pt x="107" y="364"/>
                </a:cubicBezTo>
                <a:cubicBezTo>
                  <a:pt x="110" y="371"/>
                  <a:pt x="120" y="374"/>
                  <a:pt x="134" y="369"/>
                </a:cubicBezTo>
                <a:cubicBezTo>
                  <a:pt x="224" y="330"/>
                  <a:pt x="301" y="270"/>
                  <a:pt x="368" y="202"/>
                </a:cubicBezTo>
                <a:cubicBezTo>
                  <a:pt x="376" y="194"/>
                  <a:pt x="383" y="186"/>
                  <a:pt x="391" y="178"/>
                </a:cubicBezTo>
                <a:cubicBezTo>
                  <a:pt x="401" y="166"/>
                  <a:pt x="398" y="156"/>
                  <a:pt x="387" y="147"/>
                </a:cubicBezTo>
                <a:close/>
              </a:path>
            </a:pathLst>
          </a:custGeom>
          <a:solidFill>
            <a:srgbClr val="60A75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9" name="Freeform 9">
            <a:extLst>
              <a:ext uri="{FF2B5EF4-FFF2-40B4-BE49-F238E27FC236}">
                <a16:creationId xmlns:a16="http://schemas.microsoft.com/office/drawing/2014/main" id="{1306C92E-4D62-4509-A991-C131582CB191}"/>
              </a:ext>
            </a:extLst>
          </p:cNvPr>
          <p:cNvSpPr/>
          <p:nvPr/>
        </p:nvSpPr>
        <p:spPr bwMode="auto">
          <a:xfrm rot="20700000">
            <a:off x="5257024" y="2204953"/>
            <a:ext cx="789693" cy="614206"/>
          </a:xfrm>
          <a:custGeom>
            <a:avLst/>
            <a:gdLst>
              <a:gd name="T0" fmla="*/ 373 w 391"/>
              <a:gd name="T1" fmla="*/ 260 h 304"/>
              <a:gd name="T2" fmla="*/ 390 w 391"/>
              <a:gd name="T3" fmla="*/ 24 h 304"/>
              <a:gd name="T4" fmla="*/ 373 w 391"/>
              <a:gd name="T5" fmla="*/ 8 h 304"/>
              <a:gd name="T6" fmla="*/ 14 w 391"/>
              <a:gd name="T7" fmla="*/ 53 h 304"/>
              <a:gd name="T8" fmla="*/ 6 w 391"/>
              <a:gd name="T9" fmla="*/ 71 h 304"/>
              <a:gd name="T10" fmla="*/ 92 w 391"/>
              <a:gd name="T11" fmla="*/ 297 h 304"/>
              <a:gd name="T12" fmla="*/ 105 w 391"/>
              <a:gd name="T13" fmla="*/ 302 h 304"/>
              <a:gd name="T14" fmla="*/ 357 w 391"/>
              <a:gd name="T15" fmla="*/ 273 h 304"/>
              <a:gd name="T16" fmla="*/ 373 w 391"/>
              <a:gd name="T17" fmla="*/ 260 h 3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91" h="304">
                <a:moveTo>
                  <a:pt x="373" y="260"/>
                </a:moveTo>
                <a:cubicBezTo>
                  <a:pt x="390" y="24"/>
                  <a:pt x="390" y="24"/>
                  <a:pt x="390" y="24"/>
                </a:cubicBezTo>
                <a:cubicBezTo>
                  <a:pt x="391" y="9"/>
                  <a:pt x="384" y="9"/>
                  <a:pt x="373" y="8"/>
                </a:cubicBezTo>
                <a:cubicBezTo>
                  <a:pt x="305" y="3"/>
                  <a:pt x="164" y="0"/>
                  <a:pt x="14" y="53"/>
                </a:cubicBezTo>
                <a:cubicBezTo>
                  <a:pt x="0" y="58"/>
                  <a:pt x="6" y="71"/>
                  <a:pt x="6" y="71"/>
                </a:cubicBezTo>
                <a:cubicBezTo>
                  <a:pt x="92" y="297"/>
                  <a:pt x="92" y="297"/>
                  <a:pt x="92" y="297"/>
                </a:cubicBezTo>
                <a:cubicBezTo>
                  <a:pt x="94" y="301"/>
                  <a:pt x="97" y="304"/>
                  <a:pt x="105" y="302"/>
                </a:cubicBezTo>
                <a:cubicBezTo>
                  <a:pt x="203" y="274"/>
                  <a:pt x="300" y="271"/>
                  <a:pt x="357" y="273"/>
                </a:cubicBezTo>
                <a:cubicBezTo>
                  <a:pt x="370" y="274"/>
                  <a:pt x="372" y="270"/>
                  <a:pt x="373" y="260"/>
                </a:cubicBezTo>
                <a:close/>
              </a:path>
            </a:pathLst>
          </a:custGeom>
          <a:solidFill>
            <a:srgbClr val="6FCEF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20" name="Freeform 10">
            <a:extLst>
              <a:ext uri="{FF2B5EF4-FFF2-40B4-BE49-F238E27FC236}">
                <a16:creationId xmlns:a16="http://schemas.microsoft.com/office/drawing/2014/main" id="{9B14FE4A-80A0-42B1-B2FC-2026849D4F27}"/>
              </a:ext>
            </a:extLst>
          </p:cNvPr>
          <p:cNvSpPr/>
          <p:nvPr/>
        </p:nvSpPr>
        <p:spPr bwMode="auto">
          <a:xfrm rot="20700000">
            <a:off x="4562397" y="2612798"/>
            <a:ext cx="812223" cy="758864"/>
          </a:xfrm>
          <a:custGeom>
            <a:avLst/>
            <a:gdLst>
              <a:gd name="T0" fmla="*/ 14 w 402"/>
              <a:gd name="T1" fmla="*/ 233 h 376"/>
              <a:gd name="T2" fmla="*/ 198 w 402"/>
              <a:gd name="T3" fmla="*/ 367 h 376"/>
              <a:gd name="T4" fmla="*/ 221 w 402"/>
              <a:gd name="T5" fmla="*/ 366 h 376"/>
              <a:gd name="T6" fmla="*/ 387 w 402"/>
              <a:gd name="T7" fmla="*/ 239 h 376"/>
              <a:gd name="T8" fmla="*/ 396 w 402"/>
              <a:gd name="T9" fmla="*/ 214 h 376"/>
              <a:gd name="T10" fmla="*/ 290 w 402"/>
              <a:gd name="T11" fmla="*/ 10 h 376"/>
              <a:gd name="T12" fmla="*/ 263 w 402"/>
              <a:gd name="T13" fmla="*/ 6 h 376"/>
              <a:gd name="T14" fmla="*/ 32 w 402"/>
              <a:gd name="T15" fmla="*/ 178 h 376"/>
              <a:gd name="T16" fmla="*/ 10 w 402"/>
              <a:gd name="T17" fmla="*/ 202 h 376"/>
              <a:gd name="T18" fmla="*/ 14 w 402"/>
              <a:gd name="T19" fmla="*/ 233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02" h="376">
                <a:moveTo>
                  <a:pt x="14" y="233"/>
                </a:moveTo>
                <a:cubicBezTo>
                  <a:pt x="198" y="367"/>
                  <a:pt x="198" y="367"/>
                  <a:pt x="198" y="367"/>
                </a:cubicBezTo>
                <a:cubicBezTo>
                  <a:pt x="204" y="372"/>
                  <a:pt x="212" y="376"/>
                  <a:pt x="221" y="366"/>
                </a:cubicBezTo>
                <a:cubicBezTo>
                  <a:pt x="273" y="309"/>
                  <a:pt x="329" y="271"/>
                  <a:pt x="387" y="239"/>
                </a:cubicBezTo>
                <a:cubicBezTo>
                  <a:pt x="401" y="232"/>
                  <a:pt x="402" y="226"/>
                  <a:pt x="396" y="214"/>
                </a:cubicBezTo>
                <a:cubicBezTo>
                  <a:pt x="290" y="10"/>
                  <a:pt x="290" y="10"/>
                  <a:pt x="290" y="10"/>
                </a:cubicBezTo>
                <a:cubicBezTo>
                  <a:pt x="286" y="3"/>
                  <a:pt x="276" y="0"/>
                  <a:pt x="263" y="6"/>
                </a:cubicBezTo>
                <a:cubicBezTo>
                  <a:pt x="174" y="47"/>
                  <a:pt x="98" y="108"/>
                  <a:pt x="32" y="178"/>
                </a:cubicBezTo>
                <a:cubicBezTo>
                  <a:pt x="25" y="186"/>
                  <a:pt x="17" y="194"/>
                  <a:pt x="10" y="202"/>
                </a:cubicBezTo>
                <a:cubicBezTo>
                  <a:pt x="0" y="214"/>
                  <a:pt x="3" y="225"/>
                  <a:pt x="14" y="233"/>
                </a:cubicBezTo>
                <a:close/>
              </a:path>
            </a:pathLst>
          </a:custGeom>
          <a:solidFill>
            <a:srgbClr val="60A75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30D6A969-276D-48DF-8E08-8CBE81EAED29}"/>
              </a:ext>
            </a:extLst>
          </p:cNvPr>
          <p:cNvGrpSpPr/>
          <p:nvPr/>
        </p:nvGrpSpPr>
        <p:grpSpPr>
          <a:xfrm>
            <a:off x="5510595" y="3133160"/>
            <a:ext cx="1338685" cy="1338684"/>
            <a:chOff x="5510594" y="3133160"/>
            <a:chExt cx="1338685" cy="1338684"/>
          </a:xfrm>
        </p:grpSpPr>
        <p:sp>
          <p:nvSpPr>
            <p:cNvPr id="22" name="Oval 8">
              <a:extLst>
                <a:ext uri="{FF2B5EF4-FFF2-40B4-BE49-F238E27FC236}">
                  <a16:creationId xmlns:a16="http://schemas.microsoft.com/office/drawing/2014/main" id="{78AA41B3-1911-42EF-AFB1-484311E103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10594" y="3133160"/>
              <a:ext cx="1338685" cy="1338684"/>
            </a:xfrm>
            <a:prstGeom prst="ellipse">
              <a:avLst/>
            </a:prstGeom>
            <a:solidFill>
              <a:srgbClr val="D00000"/>
            </a:solidFill>
            <a:ln w="158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lt1"/>
                </a:solidFill>
                <a:cs typeface="+mn-ea"/>
                <a:sym typeface="+mn-lt"/>
              </a:endParaRPr>
            </a:p>
          </p:txBody>
        </p:sp>
        <p:sp>
          <p:nvSpPr>
            <p:cNvPr id="23" name="自由: 形状 54">
              <a:extLst>
                <a:ext uri="{FF2B5EF4-FFF2-40B4-BE49-F238E27FC236}">
                  <a16:creationId xmlns:a16="http://schemas.microsoft.com/office/drawing/2014/main" id="{B7D444F5-1B88-4427-A6B5-8F96C12CAD64}"/>
                </a:ext>
              </a:extLst>
            </p:cNvPr>
            <p:cNvSpPr/>
            <p:nvPr/>
          </p:nvSpPr>
          <p:spPr bwMode="auto">
            <a:xfrm>
              <a:off x="5851975" y="3376374"/>
              <a:ext cx="588120" cy="789205"/>
            </a:xfrm>
            <a:custGeom>
              <a:avLst/>
              <a:gdLst>
                <a:gd name="connsiteX0" fmla="*/ 243364 w 787400"/>
                <a:gd name="connsiteY0" fmla="*/ 945169 h 1056621"/>
                <a:gd name="connsiteX1" fmla="*/ 348361 w 787400"/>
                <a:gd name="connsiteY1" fmla="*/ 945169 h 1056621"/>
                <a:gd name="connsiteX2" fmla="*/ 360410 w 787400"/>
                <a:gd name="connsiteY2" fmla="*/ 952028 h 1056621"/>
                <a:gd name="connsiteX3" fmla="*/ 360410 w 787400"/>
                <a:gd name="connsiteY3" fmla="*/ 1049763 h 1056621"/>
                <a:gd name="connsiteX4" fmla="*/ 348361 w 787400"/>
                <a:gd name="connsiteY4" fmla="*/ 1056621 h 1056621"/>
                <a:gd name="connsiteX5" fmla="*/ 243364 w 787400"/>
                <a:gd name="connsiteY5" fmla="*/ 1056621 h 1056621"/>
                <a:gd name="connsiteX6" fmla="*/ 233036 w 787400"/>
                <a:gd name="connsiteY6" fmla="*/ 1049763 h 1056621"/>
                <a:gd name="connsiteX7" fmla="*/ 233036 w 787400"/>
                <a:gd name="connsiteY7" fmla="*/ 952028 h 1056621"/>
                <a:gd name="connsiteX8" fmla="*/ 243364 w 787400"/>
                <a:gd name="connsiteY8" fmla="*/ 945169 h 1056621"/>
                <a:gd name="connsiteX9" fmla="*/ 31316 w 787400"/>
                <a:gd name="connsiteY9" fmla="*/ 862666 h 1056621"/>
                <a:gd name="connsiteX10" fmla="*/ 136313 w 787400"/>
                <a:gd name="connsiteY10" fmla="*/ 862666 h 1056621"/>
                <a:gd name="connsiteX11" fmla="*/ 148362 w 787400"/>
                <a:gd name="connsiteY11" fmla="*/ 874681 h 1056621"/>
                <a:gd name="connsiteX12" fmla="*/ 148362 w 787400"/>
                <a:gd name="connsiteY12" fmla="*/ 1044606 h 1056621"/>
                <a:gd name="connsiteX13" fmla="*/ 136313 w 787400"/>
                <a:gd name="connsiteY13" fmla="*/ 1056621 h 1056621"/>
                <a:gd name="connsiteX14" fmla="*/ 31316 w 787400"/>
                <a:gd name="connsiteY14" fmla="*/ 1056621 h 1056621"/>
                <a:gd name="connsiteX15" fmla="*/ 20988 w 787400"/>
                <a:gd name="connsiteY15" fmla="*/ 1044606 h 1056621"/>
                <a:gd name="connsiteX16" fmla="*/ 20988 w 787400"/>
                <a:gd name="connsiteY16" fmla="*/ 874681 h 1056621"/>
                <a:gd name="connsiteX17" fmla="*/ 31316 w 787400"/>
                <a:gd name="connsiteY17" fmla="*/ 862666 h 1056621"/>
                <a:gd name="connsiteX18" fmla="*/ 454962 w 787400"/>
                <a:gd name="connsiteY18" fmla="*/ 727332 h 1056621"/>
                <a:gd name="connsiteX19" fmla="*/ 558238 w 787400"/>
                <a:gd name="connsiteY19" fmla="*/ 727332 h 1056621"/>
                <a:gd name="connsiteX20" fmla="*/ 570287 w 787400"/>
                <a:gd name="connsiteY20" fmla="*/ 746197 h 1056621"/>
                <a:gd name="connsiteX21" fmla="*/ 570287 w 787400"/>
                <a:gd name="connsiteY21" fmla="*/ 1037756 h 1056621"/>
                <a:gd name="connsiteX22" fmla="*/ 558238 w 787400"/>
                <a:gd name="connsiteY22" fmla="*/ 1056621 h 1056621"/>
                <a:gd name="connsiteX23" fmla="*/ 454962 w 787400"/>
                <a:gd name="connsiteY23" fmla="*/ 1056621 h 1056621"/>
                <a:gd name="connsiteX24" fmla="*/ 442913 w 787400"/>
                <a:gd name="connsiteY24" fmla="*/ 1037756 h 1056621"/>
                <a:gd name="connsiteX25" fmla="*/ 442913 w 787400"/>
                <a:gd name="connsiteY25" fmla="*/ 746197 h 1056621"/>
                <a:gd name="connsiteX26" fmla="*/ 454962 w 787400"/>
                <a:gd name="connsiteY26" fmla="*/ 727332 h 1056621"/>
                <a:gd name="connsiteX27" fmla="*/ 666699 w 787400"/>
                <a:gd name="connsiteY27" fmla="*/ 411069 h 1056621"/>
                <a:gd name="connsiteX28" fmla="*/ 771320 w 787400"/>
                <a:gd name="connsiteY28" fmla="*/ 411069 h 1056621"/>
                <a:gd name="connsiteX29" fmla="*/ 781610 w 787400"/>
                <a:gd name="connsiteY29" fmla="*/ 448841 h 1056621"/>
                <a:gd name="connsiteX30" fmla="*/ 781610 w 787400"/>
                <a:gd name="connsiteY30" fmla="*/ 1018850 h 1056621"/>
                <a:gd name="connsiteX31" fmla="*/ 771320 w 787400"/>
                <a:gd name="connsiteY31" fmla="*/ 1056621 h 1056621"/>
                <a:gd name="connsiteX32" fmla="*/ 666699 w 787400"/>
                <a:gd name="connsiteY32" fmla="*/ 1056621 h 1056621"/>
                <a:gd name="connsiteX33" fmla="*/ 656408 w 787400"/>
                <a:gd name="connsiteY33" fmla="*/ 1018850 h 1056621"/>
                <a:gd name="connsiteX34" fmla="*/ 656408 w 787400"/>
                <a:gd name="connsiteY34" fmla="*/ 448841 h 1056621"/>
                <a:gd name="connsiteX35" fmla="*/ 666699 w 787400"/>
                <a:gd name="connsiteY35" fmla="*/ 411069 h 1056621"/>
                <a:gd name="connsiteX36" fmla="*/ 787400 w 787400"/>
                <a:gd name="connsiteY36" fmla="*/ 0 h 1056621"/>
                <a:gd name="connsiteX37" fmla="*/ 749043 w 787400"/>
                <a:gd name="connsiteY37" fmla="*/ 142571 h 1056621"/>
                <a:gd name="connsiteX38" fmla="*/ 711410 w 787400"/>
                <a:gd name="connsiteY38" fmla="*/ 283695 h 1056621"/>
                <a:gd name="connsiteX39" fmla="*/ 665093 w 787400"/>
                <a:gd name="connsiteY39" fmla="*/ 254747 h 1056621"/>
                <a:gd name="connsiteX40" fmla="*/ 299618 w 787400"/>
                <a:gd name="connsiteY40" fmla="*/ 809835 h 1056621"/>
                <a:gd name="connsiteX41" fmla="*/ 91912 w 787400"/>
                <a:gd name="connsiteY41" fmla="*/ 701278 h 1056621"/>
                <a:gd name="connsiteX42" fmla="*/ 57174 w 787400"/>
                <a:gd name="connsiteY42" fmla="*/ 743977 h 1056621"/>
                <a:gd name="connsiteX43" fmla="*/ 0 w 787400"/>
                <a:gd name="connsiteY43" fmla="*/ 694764 h 1056621"/>
                <a:gd name="connsiteX44" fmla="*/ 74543 w 787400"/>
                <a:gd name="connsiteY44" fmla="*/ 608643 h 1056621"/>
                <a:gd name="connsiteX45" fmla="*/ 274288 w 787400"/>
                <a:gd name="connsiteY45" fmla="*/ 713581 h 1056621"/>
                <a:gd name="connsiteX46" fmla="*/ 602853 w 787400"/>
                <a:gd name="connsiteY46" fmla="*/ 213495 h 1056621"/>
                <a:gd name="connsiteX47" fmla="*/ 557983 w 787400"/>
                <a:gd name="connsiteY47" fmla="*/ 185994 h 1056621"/>
                <a:gd name="connsiteX48" fmla="*/ 671606 w 787400"/>
                <a:gd name="connsiteY48" fmla="*/ 93359 h 1056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787400" h="1056621">
                  <a:moveTo>
                    <a:pt x="243364" y="945169"/>
                  </a:moveTo>
                  <a:cubicBezTo>
                    <a:pt x="243364" y="945169"/>
                    <a:pt x="243364" y="945169"/>
                    <a:pt x="348361" y="945169"/>
                  </a:cubicBezTo>
                  <a:cubicBezTo>
                    <a:pt x="355246" y="945169"/>
                    <a:pt x="360410" y="948599"/>
                    <a:pt x="360410" y="952028"/>
                  </a:cubicBezTo>
                  <a:cubicBezTo>
                    <a:pt x="360410" y="952028"/>
                    <a:pt x="360410" y="952028"/>
                    <a:pt x="360410" y="1049763"/>
                  </a:cubicBezTo>
                  <a:cubicBezTo>
                    <a:pt x="360410" y="1053192"/>
                    <a:pt x="355246" y="1056621"/>
                    <a:pt x="348361" y="1056621"/>
                  </a:cubicBezTo>
                  <a:cubicBezTo>
                    <a:pt x="348361" y="1056621"/>
                    <a:pt x="348361" y="1056621"/>
                    <a:pt x="243364" y="1056621"/>
                  </a:cubicBezTo>
                  <a:cubicBezTo>
                    <a:pt x="238200" y="1056621"/>
                    <a:pt x="233036" y="1053192"/>
                    <a:pt x="233036" y="1049763"/>
                  </a:cubicBezTo>
                  <a:cubicBezTo>
                    <a:pt x="233036" y="1049763"/>
                    <a:pt x="233036" y="1049763"/>
                    <a:pt x="233036" y="952028"/>
                  </a:cubicBezTo>
                  <a:cubicBezTo>
                    <a:pt x="233036" y="948599"/>
                    <a:pt x="238200" y="945169"/>
                    <a:pt x="243364" y="945169"/>
                  </a:cubicBezTo>
                  <a:close/>
                  <a:moveTo>
                    <a:pt x="31316" y="862666"/>
                  </a:moveTo>
                  <a:cubicBezTo>
                    <a:pt x="31316" y="862666"/>
                    <a:pt x="31316" y="862666"/>
                    <a:pt x="136313" y="862666"/>
                  </a:cubicBezTo>
                  <a:cubicBezTo>
                    <a:pt x="143198" y="862666"/>
                    <a:pt x="148362" y="867815"/>
                    <a:pt x="148362" y="874681"/>
                  </a:cubicBezTo>
                  <a:cubicBezTo>
                    <a:pt x="148362" y="874681"/>
                    <a:pt x="148362" y="874681"/>
                    <a:pt x="148362" y="1044606"/>
                  </a:cubicBezTo>
                  <a:cubicBezTo>
                    <a:pt x="148362" y="1051472"/>
                    <a:pt x="143198" y="1056621"/>
                    <a:pt x="136313" y="1056621"/>
                  </a:cubicBezTo>
                  <a:cubicBezTo>
                    <a:pt x="136313" y="1056621"/>
                    <a:pt x="136313" y="1056621"/>
                    <a:pt x="31316" y="1056621"/>
                  </a:cubicBezTo>
                  <a:cubicBezTo>
                    <a:pt x="26152" y="1056621"/>
                    <a:pt x="20988" y="1051472"/>
                    <a:pt x="20988" y="1044606"/>
                  </a:cubicBezTo>
                  <a:cubicBezTo>
                    <a:pt x="20988" y="1044606"/>
                    <a:pt x="20988" y="1044606"/>
                    <a:pt x="20988" y="874681"/>
                  </a:cubicBezTo>
                  <a:cubicBezTo>
                    <a:pt x="20988" y="867815"/>
                    <a:pt x="26152" y="862666"/>
                    <a:pt x="31316" y="862666"/>
                  </a:cubicBezTo>
                  <a:close/>
                  <a:moveTo>
                    <a:pt x="454962" y="727332"/>
                  </a:moveTo>
                  <a:cubicBezTo>
                    <a:pt x="454962" y="727332"/>
                    <a:pt x="454962" y="727332"/>
                    <a:pt x="558238" y="727332"/>
                  </a:cubicBezTo>
                  <a:cubicBezTo>
                    <a:pt x="565123" y="727332"/>
                    <a:pt x="570287" y="735907"/>
                    <a:pt x="570287" y="746197"/>
                  </a:cubicBezTo>
                  <a:cubicBezTo>
                    <a:pt x="570287" y="746197"/>
                    <a:pt x="570287" y="746197"/>
                    <a:pt x="570287" y="1037756"/>
                  </a:cubicBezTo>
                  <a:cubicBezTo>
                    <a:pt x="570287" y="1048046"/>
                    <a:pt x="565123" y="1056621"/>
                    <a:pt x="558238" y="1056621"/>
                  </a:cubicBezTo>
                  <a:cubicBezTo>
                    <a:pt x="558238" y="1056621"/>
                    <a:pt x="558238" y="1056621"/>
                    <a:pt x="454962" y="1056621"/>
                  </a:cubicBezTo>
                  <a:cubicBezTo>
                    <a:pt x="448077" y="1056621"/>
                    <a:pt x="442913" y="1048046"/>
                    <a:pt x="442913" y="1037756"/>
                  </a:cubicBezTo>
                  <a:cubicBezTo>
                    <a:pt x="442913" y="1037756"/>
                    <a:pt x="442913" y="1037756"/>
                    <a:pt x="442913" y="746197"/>
                  </a:cubicBezTo>
                  <a:cubicBezTo>
                    <a:pt x="442913" y="735907"/>
                    <a:pt x="448077" y="727332"/>
                    <a:pt x="454962" y="727332"/>
                  </a:cubicBezTo>
                  <a:close/>
                  <a:moveTo>
                    <a:pt x="666699" y="411069"/>
                  </a:moveTo>
                  <a:cubicBezTo>
                    <a:pt x="666699" y="411069"/>
                    <a:pt x="666699" y="411069"/>
                    <a:pt x="771320" y="411069"/>
                  </a:cubicBezTo>
                  <a:cubicBezTo>
                    <a:pt x="778180" y="411069"/>
                    <a:pt x="781610" y="428238"/>
                    <a:pt x="781610" y="448841"/>
                  </a:cubicBezTo>
                  <a:cubicBezTo>
                    <a:pt x="781610" y="448841"/>
                    <a:pt x="781610" y="448841"/>
                    <a:pt x="781610" y="1018850"/>
                  </a:cubicBezTo>
                  <a:cubicBezTo>
                    <a:pt x="781610" y="1039452"/>
                    <a:pt x="778180" y="1056621"/>
                    <a:pt x="771320" y="1056621"/>
                  </a:cubicBezTo>
                  <a:cubicBezTo>
                    <a:pt x="771320" y="1056621"/>
                    <a:pt x="771320" y="1056621"/>
                    <a:pt x="666699" y="1056621"/>
                  </a:cubicBezTo>
                  <a:cubicBezTo>
                    <a:pt x="661554" y="1056621"/>
                    <a:pt x="656408" y="1039452"/>
                    <a:pt x="656408" y="1018850"/>
                  </a:cubicBezTo>
                  <a:cubicBezTo>
                    <a:pt x="656408" y="1018850"/>
                    <a:pt x="656408" y="1018850"/>
                    <a:pt x="656408" y="448841"/>
                  </a:cubicBezTo>
                  <a:cubicBezTo>
                    <a:pt x="656408" y="428238"/>
                    <a:pt x="661554" y="411069"/>
                    <a:pt x="666699" y="411069"/>
                  </a:cubicBezTo>
                  <a:close/>
                  <a:moveTo>
                    <a:pt x="787400" y="0"/>
                  </a:moveTo>
                  <a:lnTo>
                    <a:pt x="749043" y="142571"/>
                  </a:lnTo>
                  <a:lnTo>
                    <a:pt x="711410" y="283695"/>
                  </a:lnTo>
                  <a:lnTo>
                    <a:pt x="665093" y="254747"/>
                  </a:lnTo>
                  <a:lnTo>
                    <a:pt x="299618" y="809835"/>
                  </a:lnTo>
                  <a:lnTo>
                    <a:pt x="91912" y="701278"/>
                  </a:lnTo>
                  <a:lnTo>
                    <a:pt x="57174" y="743977"/>
                  </a:lnTo>
                  <a:lnTo>
                    <a:pt x="0" y="694764"/>
                  </a:lnTo>
                  <a:lnTo>
                    <a:pt x="74543" y="608643"/>
                  </a:lnTo>
                  <a:lnTo>
                    <a:pt x="274288" y="713581"/>
                  </a:lnTo>
                  <a:lnTo>
                    <a:pt x="602853" y="213495"/>
                  </a:lnTo>
                  <a:lnTo>
                    <a:pt x="557983" y="185994"/>
                  </a:lnTo>
                  <a:lnTo>
                    <a:pt x="671606" y="933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 dirty="0">
                <a:cs typeface="+mn-ea"/>
                <a:sym typeface="+mn-lt"/>
              </a:endParaRPr>
            </a:p>
          </p:txBody>
        </p:sp>
      </p:grpSp>
      <p:sp>
        <p:nvSpPr>
          <p:cNvPr id="24" name="矩形 23">
            <a:extLst>
              <a:ext uri="{FF2B5EF4-FFF2-40B4-BE49-F238E27FC236}">
                <a16:creationId xmlns:a16="http://schemas.microsoft.com/office/drawing/2014/main" id="{CCC16736-1C2B-4218-873A-2CE5011C1932}"/>
              </a:ext>
            </a:extLst>
          </p:cNvPr>
          <p:cNvSpPr/>
          <p:nvPr/>
        </p:nvSpPr>
        <p:spPr>
          <a:xfrm>
            <a:off x="6330305" y="4915049"/>
            <a:ext cx="52770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  <a:cs typeface="+mn-ea"/>
                <a:sym typeface="+mn-lt"/>
              </a:rPr>
              <a:t>01</a:t>
            </a:r>
            <a:endParaRPr lang="zh-CN" altLang="en-US" sz="2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E09EB09C-58F7-42CC-BE12-6EAB64C57F5F}"/>
              </a:ext>
            </a:extLst>
          </p:cNvPr>
          <p:cNvSpPr/>
          <p:nvPr/>
        </p:nvSpPr>
        <p:spPr>
          <a:xfrm>
            <a:off x="7047009" y="4412798"/>
            <a:ext cx="52770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  <a:cs typeface="+mn-ea"/>
                <a:sym typeface="+mn-lt"/>
              </a:rPr>
              <a:t>02</a:t>
            </a:r>
            <a:endParaRPr lang="zh-CN" altLang="en-US" sz="2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F9D3C660-844D-4C32-8ECF-AED62B5728E8}"/>
              </a:ext>
            </a:extLst>
          </p:cNvPr>
          <p:cNvSpPr/>
          <p:nvPr/>
        </p:nvSpPr>
        <p:spPr>
          <a:xfrm>
            <a:off x="7330196" y="3361146"/>
            <a:ext cx="52770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  <a:cs typeface="+mn-ea"/>
                <a:sym typeface="+mn-lt"/>
              </a:rPr>
              <a:t>03</a:t>
            </a:r>
            <a:endParaRPr lang="zh-CN" altLang="en-US" sz="2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C789C20C-6F88-4C66-9B2C-59AE3404EB09}"/>
              </a:ext>
            </a:extLst>
          </p:cNvPr>
          <p:cNvSpPr/>
          <p:nvPr/>
        </p:nvSpPr>
        <p:spPr>
          <a:xfrm>
            <a:off x="5428880" y="2240028"/>
            <a:ext cx="52770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  <a:cs typeface="+mn-ea"/>
                <a:sym typeface="+mn-lt"/>
              </a:rPr>
              <a:t>04</a:t>
            </a:r>
            <a:endParaRPr lang="zh-CN" altLang="en-US" sz="2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B38D1D9E-285F-46C5-90EB-40F265093EEF}"/>
              </a:ext>
            </a:extLst>
          </p:cNvPr>
          <p:cNvSpPr/>
          <p:nvPr/>
        </p:nvSpPr>
        <p:spPr>
          <a:xfrm>
            <a:off x="4729321" y="2798502"/>
            <a:ext cx="52770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  <a:cs typeface="+mn-ea"/>
                <a:sym typeface="+mn-lt"/>
              </a:rPr>
              <a:t>05</a:t>
            </a:r>
            <a:endParaRPr lang="zh-CN" altLang="en-US" sz="2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37DCF1B5-41EE-4C49-B930-D15E0B99AE67}"/>
              </a:ext>
            </a:extLst>
          </p:cNvPr>
          <p:cNvSpPr/>
          <p:nvPr/>
        </p:nvSpPr>
        <p:spPr>
          <a:xfrm>
            <a:off x="4502790" y="3973298"/>
            <a:ext cx="52770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  <a:cs typeface="+mn-ea"/>
                <a:sym typeface="+mn-lt"/>
              </a:rPr>
              <a:t>06</a:t>
            </a:r>
            <a:endParaRPr lang="zh-CN" altLang="en-US" sz="2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952D6793-E1FB-4944-BDC2-ACF16BB770B2}"/>
              </a:ext>
            </a:extLst>
          </p:cNvPr>
          <p:cNvSpPr txBox="1"/>
          <p:nvPr/>
        </p:nvSpPr>
        <p:spPr>
          <a:xfrm>
            <a:off x="8153539" y="3064341"/>
            <a:ext cx="3145327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。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1" name="Rectangle 36">
            <a:extLst>
              <a:ext uri="{FF2B5EF4-FFF2-40B4-BE49-F238E27FC236}">
                <a16:creationId xmlns:a16="http://schemas.microsoft.com/office/drawing/2014/main" id="{8486BEDD-FA44-4015-9C00-5C7036DCBF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3539" y="2774362"/>
            <a:ext cx="12105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/>
          <a:p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添加标题</a:t>
            </a: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20B4292A-B949-4665-A03C-306CECADB2D7}"/>
              </a:ext>
            </a:extLst>
          </p:cNvPr>
          <p:cNvSpPr txBox="1"/>
          <p:nvPr/>
        </p:nvSpPr>
        <p:spPr>
          <a:xfrm>
            <a:off x="875834" y="2387075"/>
            <a:ext cx="3145327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。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3" name="Rectangle 36">
            <a:extLst>
              <a:ext uri="{FF2B5EF4-FFF2-40B4-BE49-F238E27FC236}">
                <a16:creationId xmlns:a16="http://schemas.microsoft.com/office/drawing/2014/main" id="{6293A0A7-099D-468E-B5F9-BE4D05C1BB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10572" y="2097096"/>
            <a:ext cx="12105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/>
          <a:p>
            <a:pPr algn="r"/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添加标题</a:t>
            </a: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0FE602A7-7120-454F-A4FE-513D718CA779}"/>
              </a:ext>
            </a:extLst>
          </p:cNvPr>
          <p:cNvSpPr txBox="1"/>
          <p:nvPr/>
        </p:nvSpPr>
        <p:spPr>
          <a:xfrm>
            <a:off x="8153539" y="4350271"/>
            <a:ext cx="3145327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。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5" name="Rectangle 36">
            <a:extLst>
              <a:ext uri="{FF2B5EF4-FFF2-40B4-BE49-F238E27FC236}">
                <a16:creationId xmlns:a16="http://schemas.microsoft.com/office/drawing/2014/main" id="{DBCDA636-F594-40D3-9955-DA567B29F3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3539" y="4060292"/>
            <a:ext cx="12105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/>
          <a:p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添加标题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0B30B3D3-2768-444F-B51A-EE65A0CCFF42}"/>
              </a:ext>
            </a:extLst>
          </p:cNvPr>
          <p:cNvSpPr txBox="1"/>
          <p:nvPr/>
        </p:nvSpPr>
        <p:spPr>
          <a:xfrm>
            <a:off x="875834" y="3482227"/>
            <a:ext cx="3145327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。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B6E66C4-89F7-459E-8970-614A0EEF3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10572" y="3192248"/>
            <a:ext cx="12105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/>
          <a:p>
            <a:pPr algn="r"/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添加标题</a:t>
            </a: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37CEDDEC-B5C6-4289-9160-7F24A5436684}"/>
              </a:ext>
            </a:extLst>
          </p:cNvPr>
          <p:cNvSpPr txBox="1"/>
          <p:nvPr/>
        </p:nvSpPr>
        <p:spPr>
          <a:xfrm>
            <a:off x="8153539" y="5430402"/>
            <a:ext cx="3145327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。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9" name="Rectangle 36">
            <a:extLst>
              <a:ext uri="{FF2B5EF4-FFF2-40B4-BE49-F238E27FC236}">
                <a16:creationId xmlns:a16="http://schemas.microsoft.com/office/drawing/2014/main" id="{58441B9F-AB93-4EDC-A7B3-E91732DAC7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3539" y="5140423"/>
            <a:ext cx="12105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/>
          <a:p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添加标题</a:t>
            </a: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6C0D5C8F-1D9B-4CD3-BC0E-8C69CAE6BC33}"/>
              </a:ext>
            </a:extLst>
          </p:cNvPr>
          <p:cNvSpPr txBox="1"/>
          <p:nvPr/>
        </p:nvSpPr>
        <p:spPr>
          <a:xfrm>
            <a:off x="875834" y="4543108"/>
            <a:ext cx="3145327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。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41" name="Rectangle 36">
            <a:extLst>
              <a:ext uri="{FF2B5EF4-FFF2-40B4-BE49-F238E27FC236}">
                <a16:creationId xmlns:a16="http://schemas.microsoft.com/office/drawing/2014/main" id="{FBE7CDAF-F8B6-4B2D-A45B-9DD7B798F8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10572" y="4253129"/>
            <a:ext cx="12105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/>
          <a:p>
            <a:pPr algn="r"/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添加标题</a:t>
            </a:r>
          </a:p>
        </p:txBody>
      </p:sp>
    </p:spTree>
    <p:extLst>
      <p:ext uri="{BB962C8B-B14F-4D97-AF65-F5344CB8AC3E}">
        <p14:creationId xmlns:p14="http://schemas.microsoft.com/office/powerpoint/2010/main" val="84676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 advClick="0" advTm="0">
        <p14:ripple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 tmFilter="0,0; .5, 1; 1, 1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650"/>
                            </p:stCondLst>
                            <p:childTnLst>
                              <p:par>
                                <p:cTn id="2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400"/>
                            </p:stCondLst>
                            <p:childTnLst>
                              <p:par>
                                <p:cTn id="2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900"/>
                            </p:stCondLst>
                            <p:childTnLst>
                              <p:par>
                                <p:cTn id="3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400"/>
                            </p:stCondLst>
                            <p:childTnLst>
                              <p:par>
                                <p:cTn id="4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3900"/>
                            </p:stCondLst>
                            <p:childTnLst>
                              <p:par>
                                <p:cTn id="6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4400"/>
                            </p:stCondLst>
                            <p:childTnLst>
                              <p:par>
                                <p:cTn id="7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4900"/>
                            </p:stCondLst>
                            <p:childTnLst>
                              <p:par>
                                <p:cTn id="8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5400"/>
                            </p:stCondLst>
                            <p:childTnLst>
                              <p:par>
                                <p:cTn id="9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1" fill="hold">
                            <p:stCondLst>
                              <p:cond delay="5900"/>
                            </p:stCondLst>
                            <p:childTnLst>
                              <p:par>
                                <p:cTn id="1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4" dur="7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7" dur="7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0" dur="7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3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6" dur="7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9" dur="7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0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2" dur="7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5" dur="7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8" dur="7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1" dur="7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4" dur="7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7" dur="7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6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4" grpId="0"/>
      <p:bldP spid="25" grpId="0"/>
      <p:bldP spid="26" grpId="0"/>
      <p:bldP spid="27" grpId="0"/>
      <p:bldP spid="28" grpId="0"/>
      <p:bldP spid="29" grpId="0"/>
      <p:bldP spid="30" grpId="0"/>
      <p:bldP spid="31" grpId="0"/>
      <p:bldP spid="32" grpId="0"/>
      <p:bldP spid="33" grpId="0"/>
      <p:bldP spid="34" grpId="0"/>
      <p:bldP spid="35" grpId="0"/>
      <p:bldP spid="36" grpId="0"/>
      <p:bldP spid="37" grpId="0"/>
      <p:bldP spid="38" grpId="0"/>
      <p:bldP spid="39" grpId="0"/>
      <p:bldP spid="40" grpId="0"/>
      <p:bldP spid="41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7D541785-68AC-43A3-ADD5-CCB806485B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26596"/>
            <a:ext cx="12202211" cy="6858000"/>
          </a:xfrm>
          <a:prstGeom prst="rect">
            <a:avLst/>
          </a:prstGeom>
          <a:ln>
            <a:noFill/>
          </a:ln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A9DCD6AC-468D-411F-ADD1-9E043CD9455B}"/>
              </a:ext>
            </a:extLst>
          </p:cNvPr>
          <p:cNvSpPr/>
          <p:nvPr/>
        </p:nvSpPr>
        <p:spPr>
          <a:xfrm rot="10800000">
            <a:off x="0" y="1290171"/>
            <a:ext cx="12192000" cy="4224469"/>
          </a:xfrm>
          <a:prstGeom prst="rect">
            <a:avLst/>
          </a:prstGeom>
          <a:solidFill>
            <a:srgbClr val="D00000"/>
          </a:solidFill>
          <a:ln>
            <a:noFill/>
          </a:ln>
          <a:effectLst>
            <a:outerShdw blurRad="114300" dist="38100" dir="2700000" sx="101000" sy="101000" algn="tl" rotWithShape="0">
              <a:prstClr val="black">
                <a:alpha val="3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72F61383-65C9-44C3-881B-04BD16F071A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762688" y="2425045"/>
            <a:ext cx="5206440" cy="36594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ED240C3B-6885-4E67-ADE0-A4AEF74A8D0B}"/>
              </a:ext>
            </a:extLst>
          </p:cNvPr>
          <p:cNvSpPr/>
          <p:nvPr/>
        </p:nvSpPr>
        <p:spPr>
          <a:xfrm rot="10800000">
            <a:off x="3119669" y="1892829"/>
            <a:ext cx="7488832" cy="345638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38100" dir="2700000" sx="101000" sy="101000" algn="tl" rotWithShape="0">
              <a:prstClr val="black">
                <a:alpha val="3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97E6C958-D7B9-4AC5-80A6-C246E03A2DF4}"/>
              </a:ext>
            </a:extLst>
          </p:cNvPr>
          <p:cNvSpPr txBox="1"/>
          <p:nvPr/>
        </p:nvSpPr>
        <p:spPr>
          <a:xfrm>
            <a:off x="3719026" y="2659728"/>
            <a:ext cx="629011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40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谢谢观看！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F4FDA6B7-A91D-4FED-AD35-E0B4D39D99D0}"/>
              </a:ext>
            </a:extLst>
          </p:cNvPr>
          <p:cNvSpPr txBox="1"/>
          <p:nvPr/>
        </p:nvSpPr>
        <p:spPr>
          <a:xfrm>
            <a:off x="4897384" y="4570664"/>
            <a:ext cx="39334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zh-CN" altLang="en-US" sz="2000" dirty="0">
                <a:solidFill>
                  <a:prstClr val="black">
                    <a:lumMod val="75000"/>
                    <a:lumOff val="25000"/>
                  </a:prstClr>
                </a:solidFill>
                <a:cs typeface="+mn-ea"/>
                <a:sym typeface="+mn-lt"/>
              </a:rPr>
              <a:t>汇报人</a:t>
            </a:r>
            <a:r>
              <a:rPr lang="en-US" altLang="zh-CN" sz="2000" dirty="0">
                <a:solidFill>
                  <a:prstClr val="black">
                    <a:lumMod val="75000"/>
                    <a:lumOff val="25000"/>
                  </a:prstClr>
                </a:solidFill>
                <a:cs typeface="+mn-ea"/>
                <a:sym typeface="+mn-lt"/>
              </a:rPr>
              <a:t>:</a:t>
            </a:r>
            <a:r>
              <a:rPr lang="zh-CN" altLang="en-US" sz="2000" dirty="0">
                <a:solidFill>
                  <a:prstClr val="black">
                    <a:lumMod val="75000"/>
                    <a:lumOff val="25000"/>
                  </a:prstClr>
                </a:solidFill>
                <a:cs typeface="+mn-ea"/>
                <a:sym typeface="+mn-lt"/>
              </a:rPr>
              <a:t>小白 时间：</a:t>
            </a:r>
            <a:r>
              <a:rPr lang="en-US" altLang="zh-CN" sz="2000" dirty="0">
                <a:solidFill>
                  <a:prstClr val="black">
                    <a:lumMod val="75000"/>
                    <a:lumOff val="25000"/>
                  </a:prstClr>
                </a:solidFill>
                <a:cs typeface="+mn-ea"/>
                <a:sym typeface="+mn-lt"/>
              </a:rPr>
              <a:t>2030.12</a:t>
            </a:r>
            <a:endParaRPr lang="zh-CN" altLang="en-US" sz="2000" dirty="0">
              <a:solidFill>
                <a:prstClr val="black">
                  <a:lumMod val="75000"/>
                  <a:lumOff val="25000"/>
                </a:prstClr>
              </a:solidFill>
              <a:cs typeface="+mn-ea"/>
              <a:sym typeface="+mn-lt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1B0C206A-7A1A-4555-9514-A2B12B702B07}"/>
              </a:ext>
            </a:extLst>
          </p:cNvPr>
          <p:cNvSpPr/>
          <p:nvPr/>
        </p:nvSpPr>
        <p:spPr>
          <a:xfrm>
            <a:off x="3646604" y="3503971"/>
            <a:ext cx="67299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2000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TEACHER SAID CLASS OPEN TRAINING</a:t>
            </a:r>
            <a:endParaRPr lang="zh-CN" altLang="en-US" sz="2000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48DCE6D0-44DD-43B7-A3F8-675165C61AF6}"/>
              </a:ext>
            </a:extLst>
          </p:cNvPr>
          <p:cNvSpPr txBox="1"/>
          <p:nvPr/>
        </p:nvSpPr>
        <p:spPr>
          <a:xfrm>
            <a:off x="1873253" y="5314936"/>
            <a:ext cx="3127779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9600" spc="400">
                <a:solidFill>
                  <a:srgbClr val="617A99"/>
                </a:solidFill>
                <a:latin typeface="Agency FB" pitchFamily="34" charset="0"/>
              </a:defRPr>
            </a:lvl1pPr>
          </a:lstStyle>
          <a:p>
            <a:r>
              <a:rPr lang="en-US" altLang="zh-CN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ea"/>
                <a:sym typeface="+mn-lt"/>
              </a:rPr>
              <a:t>2030</a:t>
            </a:r>
            <a:endParaRPr lang="zh-CN" alt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+mn-ea"/>
              <a:sym typeface="+mn-lt"/>
            </a:endParaRPr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7632B317-56B4-4D0C-ABF3-61C1195B4D54}"/>
              </a:ext>
            </a:extLst>
          </p:cNvPr>
          <p:cNvCxnSpPr>
            <a:cxnSpLocks/>
          </p:cNvCxnSpPr>
          <p:nvPr/>
        </p:nvCxnSpPr>
        <p:spPr>
          <a:xfrm>
            <a:off x="4678415" y="4011476"/>
            <a:ext cx="4371335" cy="0"/>
          </a:xfrm>
          <a:prstGeom prst="line">
            <a:avLst/>
          </a:prstGeom>
          <a:ln w="12700">
            <a:solidFill>
              <a:srgbClr val="D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753705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 advClick="0" advTm="3000">
        <p15:prstTrans prst="fallOver"/>
      </p:transition>
    </mc:Choice>
    <mc:Fallback xmlns="">
      <p:transition spd="slow" advClick="0" advTm="3000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7" dur="20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8" dur="20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11" dur="2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12" dur="2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2" presetClass="entr" presetSubtype="4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15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6" presetID="14" presetClass="entr" presetSubtype="10" fill="hold" grpId="1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18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9" presetID="41" presetClass="entr" presetSubtype="0" fill="hold" grpId="0" nodeType="withEffect">
                                      <p:stCondLst>
                                        <p:cond delay="250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2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3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4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5" dur="500" tmFilter="0,0; .5, 1; 1, 1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6" presetID="16" presetClass="entr" presetSubtype="37" fill="hold" grpId="0" nodeType="withEffect">
                                      <p:stCondLst>
                                        <p:cond delay="300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28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9" presetID="16" presetClass="entr" presetSubtype="21" fill="hold" nodeType="withEffect">
                                      <p:stCondLst>
                                        <p:cond delay="350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inVertical)">
                                          <p:cBhvr>
                                            <p:cTn id="31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2" presetID="9" presetClass="entr" presetSubtype="0" fill="hold" grpId="0" nodeType="withEffect">
                                      <p:stCondLst>
                                        <p:cond delay="400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dissolve">
                                          <p:cBhvr>
                                            <p:cTn id="34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" grpId="0" animBg="1"/>
          <p:bldP spid="5" grpId="0" animBg="1"/>
          <p:bldP spid="6" grpId="0"/>
          <p:bldP spid="7" grpId="0"/>
          <p:bldP spid="8" grpId="0"/>
          <p:bldP spid="9" grpId="0"/>
          <p:bldP spid="9" grpId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20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20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2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2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2" presetClass="entr" presetSubtype="4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15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6" presetID="14" presetClass="entr" presetSubtype="10" fill="hold" grpId="1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18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9" presetID="41" presetClass="entr" presetSubtype="0" fill="hold" grpId="0" nodeType="withEffect">
                                      <p:stCondLst>
                                        <p:cond delay="250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2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3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4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5" dur="500" tmFilter="0,0; .5, 1; 1, 1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6" presetID="16" presetClass="entr" presetSubtype="37" fill="hold" grpId="0" nodeType="withEffect">
                                      <p:stCondLst>
                                        <p:cond delay="300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28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9" presetID="16" presetClass="entr" presetSubtype="21" fill="hold" nodeType="withEffect">
                                      <p:stCondLst>
                                        <p:cond delay="350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inVertical)">
                                          <p:cBhvr>
                                            <p:cTn id="31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2" presetID="9" presetClass="entr" presetSubtype="0" fill="hold" grpId="0" nodeType="withEffect">
                                      <p:stCondLst>
                                        <p:cond delay="400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dissolve">
                                          <p:cBhvr>
                                            <p:cTn id="34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" grpId="0" animBg="1"/>
          <p:bldP spid="5" grpId="0" animBg="1"/>
          <p:bldP spid="6" grpId="0"/>
          <p:bldP spid="7" grpId="0"/>
          <p:bldP spid="8" grpId="0"/>
          <p:bldP spid="9" grpId="0"/>
          <p:bldP spid="9" grpId="1"/>
        </p:bldLst>
      </p:timing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7773F72C-C411-452D-9547-421FF25D35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4294"/>
            <a:ext cx="12202211" cy="6858000"/>
          </a:xfrm>
          <a:prstGeom prst="rect">
            <a:avLst/>
          </a:prstGeom>
          <a:ln>
            <a:noFill/>
          </a:ln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BB060154-84DD-4104-940E-EA95BACB986B}"/>
              </a:ext>
            </a:extLst>
          </p:cNvPr>
          <p:cNvSpPr/>
          <p:nvPr/>
        </p:nvSpPr>
        <p:spPr>
          <a:xfrm rot="10800000">
            <a:off x="29024" y="1290168"/>
            <a:ext cx="10263053" cy="422447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77800" sx="103000" sy="103000" algn="ctr" rotWithShape="0">
              <a:prstClr val="black">
                <a:alpha val="3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EEFB1D98-BC3A-4E52-BD61-3619615DA91D}"/>
              </a:ext>
            </a:extLst>
          </p:cNvPr>
          <p:cNvSpPr txBox="1"/>
          <p:nvPr/>
        </p:nvSpPr>
        <p:spPr>
          <a:xfrm>
            <a:off x="1130349" y="2331271"/>
            <a:ext cx="160054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40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r>
              <a:rPr lang="zh-CN" altLang="en-US" sz="6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ea"/>
                <a:sym typeface="+mn-lt"/>
              </a:rPr>
              <a:t>前言</a:t>
            </a: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F056FBC5-546E-4E95-9184-0C2491090F4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9101485" y="2"/>
            <a:ext cx="3090515" cy="6881255"/>
          </a:xfrm>
          <a:prstGeom prst="rect">
            <a:avLst/>
          </a:prstGeom>
        </p:spPr>
      </p:pic>
      <p:sp>
        <p:nvSpPr>
          <p:cNvPr id="14" name="矩形 13">
            <a:extLst>
              <a:ext uri="{FF2B5EF4-FFF2-40B4-BE49-F238E27FC236}">
                <a16:creationId xmlns:a16="http://schemas.microsoft.com/office/drawing/2014/main" id="{7B62D115-D9AA-481B-8601-C8CF09433E2F}"/>
              </a:ext>
            </a:extLst>
          </p:cNvPr>
          <p:cNvSpPr/>
          <p:nvPr/>
        </p:nvSpPr>
        <p:spPr>
          <a:xfrm>
            <a:off x="-34733" y="1290170"/>
            <a:ext cx="551575" cy="4226453"/>
          </a:xfrm>
          <a:prstGeom prst="rect">
            <a:avLst/>
          </a:prstGeom>
          <a:solidFill>
            <a:srgbClr val="D00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C4C9465B-CD7A-4AC4-9F5B-79D416FC0C93}"/>
              </a:ext>
            </a:extLst>
          </p:cNvPr>
          <p:cNvSpPr/>
          <p:nvPr/>
        </p:nvSpPr>
        <p:spPr>
          <a:xfrm>
            <a:off x="2759922" y="2218362"/>
            <a:ext cx="6135965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00"/>
              </a:lnSpc>
            </a:pP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请在此处输入具体描述内容，文字尽量言简意赅，说明意思即可，不必过于繁琐，注意版面的美观度。请在此处输入具体描述内容，文字尽量言简意赅，说明意思即可，不必过于繁琐，注意版面的美观度。请在此处输入具体描述内容，文字尽量言简意赅，说明意思即可，不必过于繁琐，注意版面的美观度。</a:t>
            </a:r>
          </a:p>
          <a:p>
            <a:pPr>
              <a:lnSpc>
                <a:spcPts val="2000"/>
              </a:lnSpc>
            </a:pPr>
            <a:endParaRPr lang="zh-CN" altLang="en-US" sz="1200" dirty="0">
              <a:solidFill>
                <a:schemeClr val="tx1">
                  <a:lumMod val="65000"/>
                  <a:lumOff val="35000"/>
                </a:schemeClr>
              </a:solidFill>
              <a:cs typeface="+mn-ea"/>
              <a:sym typeface="+mn-lt"/>
            </a:endParaRPr>
          </a:p>
          <a:p>
            <a:pPr>
              <a:lnSpc>
                <a:spcPts val="2000"/>
              </a:lnSpc>
            </a:pPr>
            <a:endParaRPr lang="zh-CN" altLang="en-US" sz="1200" dirty="0">
              <a:solidFill>
                <a:schemeClr val="tx1">
                  <a:lumMod val="65000"/>
                  <a:lumOff val="35000"/>
                </a:schemeClr>
              </a:solidFill>
              <a:cs typeface="+mn-ea"/>
              <a:sym typeface="+mn-lt"/>
            </a:endParaRPr>
          </a:p>
          <a:p>
            <a:pPr>
              <a:lnSpc>
                <a:spcPts val="2000"/>
              </a:lnSpc>
            </a:pPr>
            <a:endParaRPr lang="zh-CN" altLang="en-US" sz="1200" dirty="0">
              <a:solidFill>
                <a:schemeClr val="tx1">
                  <a:lumMod val="65000"/>
                  <a:lumOff val="35000"/>
                </a:schemeClr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06528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3000">
        <p14:prism dir="r" isInverted="1"/>
      </p:transition>
    </mc:Choice>
    <mc:Fallback xmlns="">
      <p:transition spd="slow" advClick="0" advTm="3000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7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9" presetID="2" presetClass="entr" presetSubtype="2" fill="hold" grpId="0" nodeType="after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11" dur="20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12" dur="20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3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14" presetID="2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16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18" presetID="42" presetClass="entr" presetSubtype="0" fill="hold" grpId="1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0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2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3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24" presetID="4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6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7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9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0" dur="500" tmFilter="0,0; .5, 1; 1, 1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" grpId="0" animBg="1"/>
          <p:bldP spid="4" grpId="0"/>
          <p:bldP spid="4" grpId="1"/>
          <p:bldP spid="14" grpId="0" animBg="1"/>
          <p:bldP spid="15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7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9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20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20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3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14" presetID="2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16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18" presetID="42" presetClass="entr" presetSubtype="0" fill="hold" grpId="1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0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2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3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24" presetID="4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6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7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9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0" dur="500" tmFilter="0,0; .5, 1; 1, 1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" grpId="0" animBg="1"/>
          <p:bldP spid="4" grpId="0"/>
          <p:bldP spid="4" grpId="1"/>
          <p:bldP spid="14" grpId="0" animBg="1"/>
          <p:bldP spid="15" grpId="0"/>
        </p:bldLst>
      </p:timing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C6002DE4-0B35-4ACB-96DD-668FCFEE0D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4294"/>
            <a:ext cx="12202211" cy="6858000"/>
          </a:xfrm>
          <a:prstGeom prst="rect">
            <a:avLst/>
          </a:prstGeom>
          <a:ln>
            <a:noFill/>
          </a:ln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0B31D1B4-30DB-4C87-A153-EF6EA5C3DE6E}"/>
              </a:ext>
            </a:extLst>
          </p:cNvPr>
          <p:cNvSpPr/>
          <p:nvPr/>
        </p:nvSpPr>
        <p:spPr>
          <a:xfrm>
            <a:off x="2255573" y="1374674"/>
            <a:ext cx="8352928" cy="4224469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  <a:effectLst>
            <a:outerShdw blurRad="152400" dist="762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cs typeface="+mn-ea"/>
              <a:sym typeface="+mn-lt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0DFD6F58-1456-4565-A7FA-4889094FD26C}"/>
              </a:ext>
            </a:extLst>
          </p:cNvPr>
          <p:cNvSpPr/>
          <p:nvPr/>
        </p:nvSpPr>
        <p:spPr>
          <a:xfrm>
            <a:off x="1679509" y="1374673"/>
            <a:ext cx="7488832" cy="345638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77800" sx="103000" sy="103000" algn="ctr" rotWithShape="0">
              <a:prstClr val="black">
                <a:alpha val="3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DDC0E3D9-958C-4060-B1A9-C07ADD40EEA3}"/>
              </a:ext>
            </a:extLst>
          </p:cNvPr>
          <p:cNvSpPr/>
          <p:nvPr/>
        </p:nvSpPr>
        <p:spPr>
          <a:xfrm>
            <a:off x="7655562" y="605813"/>
            <a:ext cx="2210519" cy="2210518"/>
          </a:xfrm>
          <a:prstGeom prst="rect">
            <a:avLst/>
          </a:prstGeom>
          <a:solidFill>
            <a:srgbClr val="D00000"/>
          </a:solidFill>
          <a:ln>
            <a:noFill/>
          </a:ln>
          <a:effectLst>
            <a:outerShdw blurRad="114300" dist="38100" dir="2700000" sx="101000" sy="101000" algn="tl" rotWithShape="0">
              <a:prstClr val="black">
                <a:alpha val="3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241CF7B9-B014-49C9-96C0-4A630E09C08D}"/>
              </a:ext>
            </a:extLst>
          </p:cNvPr>
          <p:cNvSpPr/>
          <p:nvPr/>
        </p:nvSpPr>
        <p:spPr>
          <a:xfrm>
            <a:off x="1980688" y="3429000"/>
            <a:ext cx="3299221" cy="1384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933" dirty="0">
                <a:solidFill>
                  <a:schemeClr val="bg1"/>
                </a:solidFill>
                <a:cs typeface="+mn-ea"/>
                <a:sym typeface="+mn-lt"/>
              </a:rPr>
              <a:t>OF THIS SCHEME, WE THANK YOU FOR YOUR READING, THE PROPOSAL IS IN WE UNDERSTAND YOUR COMPANY FOR THE RELEVANT REQUIREMENTS, AND PROPOSAL INFORMATION, THIS PAPER DISCUSSES THE SPECIFIC REQUIREMENTS</a:t>
            </a:r>
          </a:p>
        </p:txBody>
      </p:sp>
      <p:sp>
        <p:nvSpPr>
          <p:cNvPr id="18" name="TextBox 18">
            <a:extLst>
              <a:ext uri="{FF2B5EF4-FFF2-40B4-BE49-F238E27FC236}">
                <a16:creationId xmlns:a16="http://schemas.microsoft.com/office/drawing/2014/main" id="{CEE4B56E-805F-42BD-B0BA-A50E9420F11C}"/>
              </a:ext>
            </a:extLst>
          </p:cNvPr>
          <p:cNvSpPr txBox="1"/>
          <p:nvPr/>
        </p:nvSpPr>
        <p:spPr>
          <a:xfrm>
            <a:off x="7905751" y="987799"/>
            <a:ext cx="171449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8000" spc="400" dirty="0">
                <a:solidFill>
                  <a:schemeClr val="bg1"/>
                </a:solidFill>
                <a:latin typeface="Agency FB" panose="020B0503020202020204" pitchFamily="34" charset="0"/>
                <a:cs typeface="+mn-ea"/>
                <a:sym typeface="+mn-lt"/>
              </a:rPr>
              <a:t>01</a:t>
            </a:r>
            <a:endParaRPr lang="zh-CN" altLang="en-US" sz="8000" spc="400" dirty="0">
              <a:solidFill>
                <a:schemeClr val="bg1"/>
              </a:solidFill>
              <a:latin typeface="Agency FB" panose="020B0503020202020204" pitchFamily="34" charset="0"/>
              <a:cs typeface="+mn-ea"/>
              <a:sym typeface="+mn-lt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23FC91EC-A33E-474B-8946-3468139A7936}"/>
              </a:ext>
            </a:extLst>
          </p:cNvPr>
          <p:cNvSpPr txBox="1"/>
          <p:nvPr/>
        </p:nvSpPr>
        <p:spPr>
          <a:xfrm>
            <a:off x="3397410" y="2198027"/>
            <a:ext cx="3418215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800" spc="600" dirty="0">
                <a:solidFill>
                  <a:srgbClr val="D00000"/>
                </a:solidFill>
                <a:latin typeface="+mn-lt"/>
                <a:ea typeface="+mn-ea"/>
                <a:cs typeface="+mn-ea"/>
                <a:sym typeface="+mn-lt"/>
              </a:rPr>
              <a:t>教学分析</a:t>
            </a: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8E8B6E05-31A9-41F9-80B0-911FDFB1F350}"/>
              </a:ext>
            </a:extLst>
          </p:cNvPr>
          <p:cNvSpPr/>
          <p:nvPr/>
        </p:nvSpPr>
        <p:spPr>
          <a:xfrm>
            <a:off x="2772230" y="3515783"/>
            <a:ext cx="4686031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zh-CN" altLang="en-US" sz="1050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98B2FC46-A089-4BDC-97CB-94226A8A2FE2}"/>
              </a:ext>
            </a:extLst>
          </p:cNvPr>
          <p:cNvSpPr/>
          <p:nvPr/>
        </p:nvSpPr>
        <p:spPr>
          <a:xfrm>
            <a:off x="2657654" y="2796455"/>
            <a:ext cx="4800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TEACHING ANALYSIS</a:t>
            </a:r>
            <a:endParaRPr lang="zh-CN" altLang="en-US" sz="28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36345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 advClick="0" advTm="0">
        <p14:doors dir="vert"/>
      </p:transition>
    </mc:Choice>
    <mc:Fallback xmlns="">
      <p:transition spd="slow" advClick="0" advTm="0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afterEffect" p14:presetBounceEnd="64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4000">
                                          <p:cBhvr additive="base">
                                            <p:cTn id="7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4000">
                                          <p:cBhvr additive="base">
                                            <p:cTn id="8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4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2000">
                                          <p:cBhvr additive="base">
                                            <p:cTn id="11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2000">
                                          <p:cBhvr additive="base">
                                            <p:cTn id="12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15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16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1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22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4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5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6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28" presetID="4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0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1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4" dur="500" tmFilter="0,0; .5, 1; 1, 1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5" fill="hold">
                                <p:stCondLst>
                                  <p:cond delay="4150"/>
                                </p:stCondLst>
                                <p:childTnLst>
                                  <p:par>
                                    <p:cTn id="36" presetID="16" presetClass="entr" presetSubtype="37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38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4650"/>
                                </p:stCondLst>
                                <p:childTnLst>
                                  <p:par>
                                    <p:cTn id="40" presetID="37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10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43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4" dur="900" decel="100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5" dur="100" accel="100000" fill="hold">
                                              <p:stCondLst>
                                                <p:cond delay="90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 animBg="1"/>
          <p:bldP spid="7" grpId="0" animBg="1"/>
          <p:bldP spid="13" grpId="0"/>
          <p:bldP spid="18" grpId="0"/>
          <p:bldP spid="19" grpId="0"/>
          <p:bldP spid="21" grpId="0"/>
          <p:bldP spid="23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1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22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4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5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6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28" presetID="4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0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1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4" dur="500" tmFilter="0,0; .5, 1; 1, 1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5" fill="hold">
                                <p:stCondLst>
                                  <p:cond delay="4150"/>
                                </p:stCondLst>
                                <p:childTnLst>
                                  <p:par>
                                    <p:cTn id="36" presetID="16" presetClass="entr" presetSubtype="37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38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4650"/>
                                </p:stCondLst>
                                <p:childTnLst>
                                  <p:par>
                                    <p:cTn id="40" presetID="37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10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43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4" dur="900" decel="100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5" dur="100" accel="100000" fill="hold">
                                              <p:stCondLst>
                                                <p:cond delay="90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 animBg="1"/>
          <p:bldP spid="7" grpId="0" animBg="1"/>
          <p:bldP spid="13" grpId="0"/>
          <p:bldP spid="18" grpId="0"/>
          <p:bldP spid="19" grpId="0"/>
          <p:bldP spid="21" grpId="0"/>
          <p:bldP spid="23" grpId="0"/>
        </p:bldLst>
      </p:timing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3643088-BADE-4B2C-8D16-84C355AB00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4294"/>
            <a:ext cx="12202211" cy="6858000"/>
          </a:xfrm>
          <a:prstGeom prst="rect">
            <a:avLst/>
          </a:prstGeom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7218F93-96F9-462F-BAFB-7E145859AED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99171" y="-99171"/>
            <a:ext cx="1058956" cy="1257300"/>
          </a:xfrm>
          <a:prstGeom prst="rect">
            <a:avLst/>
          </a:prstGeom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EC3E81A0-9853-4F50-A63A-07CECD490F96}"/>
              </a:ext>
            </a:extLst>
          </p:cNvPr>
          <p:cNvSpPr txBox="1"/>
          <p:nvPr/>
        </p:nvSpPr>
        <p:spPr>
          <a:xfrm>
            <a:off x="1367227" y="80984"/>
            <a:ext cx="2193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ART ONE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17F88ED-E918-45C7-8ED4-BD8E20C0EB3A}"/>
              </a:ext>
            </a:extLst>
          </p:cNvPr>
          <p:cNvSpPr txBox="1"/>
          <p:nvPr/>
        </p:nvSpPr>
        <p:spPr>
          <a:xfrm>
            <a:off x="3258258" y="120128"/>
            <a:ext cx="2957124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000" spc="600" dirty="0">
                <a:latin typeface="+mn-lt"/>
                <a:ea typeface="+mn-ea"/>
                <a:cs typeface="+mn-ea"/>
                <a:sym typeface="+mn-lt"/>
              </a:rPr>
              <a:t>教学分析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1EED5569-24A4-4920-8AFE-CCF0DD8BE5D2}"/>
              </a:ext>
            </a:extLst>
          </p:cNvPr>
          <p:cNvSpPr/>
          <p:nvPr/>
        </p:nvSpPr>
        <p:spPr>
          <a:xfrm>
            <a:off x="1526270" y="4534003"/>
            <a:ext cx="2824943" cy="547765"/>
          </a:xfrm>
          <a:prstGeom prst="rect">
            <a:avLst/>
          </a:prstGeom>
          <a:solidFill>
            <a:srgbClr val="D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86956418-1AFF-445A-B4A0-5DF0B54636F2}"/>
              </a:ext>
            </a:extLst>
          </p:cNvPr>
          <p:cNvSpPr/>
          <p:nvPr/>
        </p:nvSpPr>
        <p:spPr>
          <a:xfrm>
            <a:off x="4668338" y="4534003"/>
            <a:ext cx="2824943" cy="547765"/>
          </a:xfrm>
          <a:prstGeom prst="rect">
            <a:avLst/>
          </a:prstGeom>
          <a:solidFill>
            <a:srgbClr val="D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A6115811-EB2B-4EFB-A073-7FB898176809}"/>
              </a:ext>
            </a:extLst>
          </p:cNvPr>
          <p:cNvSpPr/>
          <p:nvPr/>
        </p:nvSpPr>
        <p:spPr>
          <a:xfrm>
            <a:off x="7810403" y="4534003"/>
            <a:ext cx="2824943" cy="547765"/>
          </a:xfrm>
          <a:prstGeom prst="rect">
            <a:avLst/>
          </a:prstGeom>
          <a:solidFill>
            <a:srgbClr val="D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620D4F2E-0F79-4A26-BD93-D288E0CF147A}"/>
              </a:ext>
            </a:extLst>
          </p:cNvPr>
          <p:cNvSpPr txBox="1"/>
          <p:nvPr/>
        </p:nvSpPr>
        <p:spPr>
          <a:xfrm>
            <a:off x="2024234" y="4601507"/>
            <a:ext cx="2023911" cy="400110"/>
          </a:xfrm>
          <a:prstGeom prst="rect">
            <a:avLst/>
          </a:prstGeom>
          <a:noFill/>
          <a:ln>
            <a:noFill/>
          </a:ln>
        </p:spPr>
        <p:txBody>
          <a:bodyPr vert="horz" wrap="square" rtlCol="0">
            <a:spAutoFit/>
          </a:bodyPr>
          <a:lstStyle/>
          <a:p>
            <a:pPr algn="ctr"/>
            <a:r>
              <a:rPr lang="zh-CN" altLang="en-US" sz="2000" spc="300" dirty="0">
                <a:solidFill>
                  <a:schemeClr val="bg1"/>
                </a:solidFill>
                <a:cs typeface="+mn-ea"/>
                <a:sym typeface="+mn-lt"/>
              </a:rPr>
              <a:t>输入标题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BF19ACB2-B9A5-4620-9FCF-E2BDF3D99281}"/>
              </a:ext>
            </a:extLst>
          </p:cNvPr>
          <p:cNvSpPr txBox="1"/>
          <p:nvPr/>
        </p:nvSpPr>
        <p:spPr>
          <a:xfrm>
            <a:off x="5166300" y="4601507"/>
            <a:ext cx="1829017" cy="400110"/>
          </a:xfrm>
          <a:prstGeom prst="rect">
            <a:avLst/>
          </a:prstGeom>
          <a:noFill/>
          <a:ln>
            <a:noFill/>
          </a:ln>
        </p:spPr>
        <p:txBody>
          <a:bodyPr vert="horz" wrap="square" rtlCol="0">
            <a:spAutoFit/>
          </a:bodyPr>
          <a:lstStyle/>
          <a:p>
            <a:pPr algn="ctr"/>
            <a:r>
              <a:rPr lang="zh-CN" altLang="en-US" sz="2000" spc="300" dirty="0">
                <a:solidFill>
                  <a:schemeClr val="bg1"/>
                </a:solidFill>
                <a:cs typeface="+mn-ea"/>
                <a:sym typeface="+mn-lt"/>
              </a:rPr>
              <a:t>输入标题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BA49C989-78DB-41A6-AEEA-9ADAFE5D5743}"/>
              </a:ext>
            </a:extLst>
          </p:cNvPr>
          <p:cNvSpPr txBox="1"/>
          <p:nvPr/>
        </p:nvSpPr>
        <p:spPr>
          <a:xfrm>
            <a:off x="8308365" y="4601507"/>
            <a:ext cx="1829017" cy="400110"/>
          </a:xfrm>
          <a:prstGeom prst="rect">
            <a:avLst/>
          </a:prstGeom>
          <a:noFill/>
          <a:ln>
            <a:noFill/>
          </a:ln>
        </p:spPr>
        <p:txBody>
          <a:bodyPr vert="horz" wrap="square" rtlCol="0">
            <a:spAutoFit/>
          </a:bodyPr>
          <a:lstStyle/>
          <a:p>
            <a:pPr algn="ctr"/>
            <a:r>
              <a:rPr lang="zh-CN" altLang="en-US" sz="2000" spc="300" dirty="0">
                <a:solidFill>
                  <a:schemeClr val="bg1"/>
                </a:solidFill>
                <a:cs typeface="+mn-ea"/>
                <a:sym typeface="+mn-lt"/>
              </a:rPr>
              <a:t>输入标题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79AA4064-632C-4374-9B32-1C2BA4CB5912}"/>
              </a:ext>
            </a:extLst>
          </p:cNvPr>
          <p:cNvSpPr/>
          <p:nvPr/>
        </p:nvSpPr>
        <p:spPr>
          <a:xfrm>
            <a:off x="1526270" y="5246229"/>
            <a:ext cx="282494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04E65B23-2AFA-41C6-9653-3CD64CDB1FB2}"/>
              </a:ext>
            </a:extLst>
          </p:cNvPr>
          <p:cNvSpPr/>
          <p:nvPr/>
        </p:nvSpPr>
        <p:spPr>
          <a:xfrm>
            <a:off x="7658003" y="5246229"/>
            <a:ext cx="282494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8FD8998C-C8DC-44CD-A969-48A9AAE769F2}"/>
              </a:ext>
            </a:extLst>
          </p:cNvPr>
          <p:cNvSpPr/>
          <p:nvPr/>
        </p:nvSpPr>
        <p:spPr>
          <a:xfrm>
            <a:off x="4668338" y="5250659"/>
            <a:ext cx="282494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</a:p>
        </p:txBody>
      </p:sp>
      <p:pic>
        <p:nvPicPr>
          <p:cNvPr id="18" name="图片占位符 24">
            <a:extLst>
              <a:ext uri="{FF2B5EF4-FFF2-40B4-BE49-F238E27FC236}">
                <a16:creationId xmlns:a16="http://schemas.microsoft.com/office/drawing/2014/main" id="{10CC8031-244A-4ECE-B1F5-3AD77FDA971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68338" y="1695940"/>
            <a:ext cx="2824943" cy="2824942"/>
          </a:xfrm>
          <a:prstGeom prst="rect">
            <a:avLst/>
          </a:prstGeom>
        </p:spPr>
      </p:pic>
      <p:pic>
        <p:nvPicPr>
          <p:cNvPr id="19" name="图片占位符 26">
            <a:extLst>
              <a:ext uri="{FF2B5EF4-FFF2-40B4-BE49-F238E27FC236}">
                <a16:creationId xmlns:a16="http://schemas.microsoft.com/office/drawing/2014/main" id="{54CCC4E3-3785-4730-A9AF-EF0654FDE4E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10402" y="1695940"/>
            <a:ext cx="2824943" cy="2824942"/>
          </a:xfrm>
          <a:prstGeom prst="rect">
            <a:avLst/>
          </a:prstGeom>
        </p:spPr>
      </p:pic>
      <p:pic>
        <p:nvPicPr>
          <p:cNvPr id="20" name="图片占位符 22">
            <a:extLst>
              <a:ext uri="{FF2B5EF4-FFF2-40B4-BE49-F238E27FC236}">
                <a16:creationId xmlns:a16="http://schemas.microsoft.com/office/drawing/2014/main" id="{38FAAE1B-C37C-44E3-95B4-70162068082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6270" y="1695940"/>
            <a:ext cx="2824943" cy="2824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395694"/>
      </p:ext>
    </p:extLst>
  </p:cSld>
  <p:clrMapOvr>
    <a:masterClrMapping/>
  </p:clrMapOvr>
  <p:transition spd="slow" advClick="0" advTm="0">
    <p:comb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 tmFilter="0,0; .5, 1; 1, 1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650"/>
                            </p:stCondLst>
                            <p:childTnLst>
                              <p:par>
                                <p:cTn id="2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150"/>
                            </p:stCondLst>
                            <p:childTnLst>
                              <p:par>
                                <p:cTn id="3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650"/>
                            </p:stCondLst>
                            <p:childTnLst>
                              <p:par>
                                <p:cTn id="4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300"/>
                            </p:stCondLst>
                            <p:childTnLst>
                              <p:par>
                                <p:cTn id="4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3800"/>
                            </p:stCondLst>
                            <p:childTnLst>
                              <p:par>
                                <p:cTn id="6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4450"/>
                            </p:stCondLst>
                            <p:childTnLst>
                              <p:par>
                                <p:cTn id="6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4950"/>
                            </p:stCondLst>
                            <p:childTnLst>
                              <p:par>
                                <p:cTn id="7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5600"/>
                            </p:stCondLst>
                            <p:childTnLst>
                              <p:par>
                                <p:cTn id="8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6" grpId="0" animBg="1"/>
      <p:bldP spid="10" grpId="0" animBg="1"/>
      <p:bldP spid="11" grpId="0" animBg="1"/>
      <p:bldP spid="12" grpId="0"/>
      <p:bldP spid="13" grpId="0"/>
      <p:bldP spid="14" grpId="0"/>
      <p:bldP spid="15" grpId="0"/>
      <p:bldP spid="16" grpId="0"/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3643088-BADE-4B2C-8D16-84C355AB00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4294"/>
            <a:ext cx="12202211" cy="6858000"/>
          </a:xfrm>
          <a:prstGeom prst="rect">
            <a:avLst/>
          </a:prstGeom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7218F93-96F9-462F-BAFB-7E145859AED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99171" y="-99171"/>
            <a:ext cx="1058956" cy="1257300"/>
          </a:xfrm>
          <a:prstGeom prst="rect">
            <a:avLst/>
          </a:prstGeom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EC3E81A0-9853-4F50-A63A-07CECD490F96}"/>
              </a:ext>
            </a:extLst>
          </p:cNvPr>
          <p:cNvSpPr txBox="1"/>
          <p:nvPr/>
        </p:nvSpPr>
        <p:spPr>
          <a:xfrm>
            <a:off x="1367227" y="80984"/>
            <a:ext cx="2193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ART ONE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17F88ED-E918-45C7-8ED4-BD8E20C0EB3A}"/>
              </a:ext>
            </a:extLst>
          </p:cNvPr>
          <p:cNvSpPr txBox="1"/>
          <p:nvPr/>
        </p:nvSpPr>
        <p:spPr>
          <a:xfrm>
            <a:off x="3258258" y="120128"/>
            <a:ext cx="2957124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000" spc="600" dirty="0">
                <a:latin typeface="+mn-lt"/>
                <a:ea typeface="+mn-ea"/>
                <a:cs typeface="+mn-ea"/>
                <a:sym typeface="+mn-lt"/>
              </a:rPr>
              <a:t>教学分析</a:t>
            </a:r>
          </a:p>
        </p:txBody>
      </p:sp>
      <p:pic>
        <p:nvPicPr>
          <p:cNvPr id="21" name="内容占位符 14">
            <a:extLst>
              <a:ext uri="{FF2B5EF4-FFF2-40B4-BE49-F238E27FC236}">
                <a16:creationId xmlns:a16="http://schemas.microsoft.com/office/drawing/2014/main" id="{20249012-4C6C-4757-9C48-A651AA7C26E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2847" y="2194893"/>
            <a:ext cx="5063003" cy="3522662"/>
          </a:xfrm>
          <a:prstGeom prst="rect">
            <a:avLst/>
          </a:prstGeom>
        </p:spPr>
      </p:pic>
      <p:sp>
        <p:nvSpPr>
          <p:cNvPr id="22" name="Rectangle 8">
            <a:extLst>
              <a:ext uri="{FF2B5EF4-FFF2-40B4-BE49-F238E27FC236}">
                <a16:creationId xmlns:a16="http://schemas.microsoft.com/office/drawing/2014/main" id="{48D54B39-E7C3-4BAC-907C-9DE799A71DB4}"/>
              </a:ext>
            </a:extLst>
          </p:cNvPr>
          <p:cNvSpPr/>
          <p:nvPr/>
        </p:nvSpPr>
        <p:spPr>
          <a:xfrm>
            <a:off x="836033" y="2195375"/>
            <a:ext cx="10509817" cy="3522181"/>
          </a:xfrm>
          <a:prstGeom prst="rect">
            <a:avLst/>
          </a:prstGeom>
          <a:noFill/>
          <a:ln w="3175" cmpd="sng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cs typeface="+mn-ea"/>
              <a:sym typeface="+mn-lt"/>
            </a:endParaRP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388A426D-B831-4903-A874-B318677BCB0E}"/>
              </a:ext>
            </a:extLst>
          </p:cNvPr>
          <p:cNvSpPr txBox="1">
            <a:spLocks/>
          </p:cNvSpPr>
          <p:nvPr/>
        </p:nvSpPr>
        <p:spPr>
          <a:xfrm>
            <a:off x="1076473" y="2545334"/>
            <a:ext cx="3090777" cy="515165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rgbClr val="996633"/>
                </a:solidFill>
                <a:latin typeface="+mn-lt"/>
                <a:ea typeface="+mn-ea"/>
                <a:cs typeface="Dancing Scrip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输入标题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E0386132-23D0-42B6-B97D-AA4E66C90697}"/>
              </a:ext>
            </a:extLst>
          </p:cNvPr>
          <p:cNvSpPr txBox="1">
            <a:spLocks/>
          </p:cNvSpPr>
          <p:nvPr/>
        </p:nvSpPr>
        <p:spPr>
          <a:xfrm>
            <a:off x="1171023" y="3060499"/>
            <a:ext cx="4460520" cy="2346325"/>
          </a:xfrm>
          <a:prstGeom prst="rect">
            <a:avLst/>
          </a:prstGeom>
        </p:spPr>
        <p:txBody>
          <a:bodyPr>
            <a:norm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2"/>
                </a:solidFill>
                <a:latin typeface="钟齐陈伟勋硬笔行书字库" panose="02010600030101010101" pitchFamily="2" charset="-122"/>
                <a:ea typeface="+mn-ea"/>
                <a:cs typeface="Dancing Script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133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300"/>
              </a:lnSpc>
              <a:buNone/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ea"/>
                <a:sym typeface="+mn-lt"/>
              </a:rPr>
              <a:t>请在此处输入具体描述内容，文字尽量言简意赅，说明意思即可，不必过于繁琐，注意版面的美观度。请在此处输入具体描述内容，文字尽量言简意赅，说明意思即可，不必过于繁琐，注意版面的美观度。请在此处输入具体描述内容，文字尽量言简意赅，说明意思即可，不必过于繁琐，注意版面的美观度。请在此处输入具体描述内容，文字尽量言简意赅，说明意思即可，不必过于繁琐，注意版面的美观度。</a:t>
            </a:r>
          </a:p>
          <a:p>
            <a:pPr marL="0" indent="0">
              <a:lnSpc>
                <a:spcPts val="2000"/>
              </a:lnSpc>
              <a:buNone/>
            </a:pPr>
            <a:endParaRPr lang="zh-CN" altLang="en-US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3615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:blinds dir="vert"/>
      </p:transition>
    </mc:Choice>
    <mc:Fallback xmlns="">
      <p:transition spd="slow" advClick="0" advTm="0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 tmFilter="0,0; .5, 1; 1, 1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65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75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7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650"/>
                            </p:stCondLst>
                            <p:childTnLst>
                              <p:par>
                                <p:cTn id="2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650"/>
                            </p:stCondLst>
                            <p:childTnLst>
                              <p:par>
                                <p:cTn id="3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22" grpId="0" animBg="1"/>
      <p:bldP spid="23" grpId="0"/>
      <p:bldP spid="24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3643088-BADE-4B2C-8D16-84C355AB00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4294"/>
            <a:ext cx="12202211" cy="6858000"/>
          </a:xfrm>
          <a:prstGeom prst="rect">
            <a:avLst/>
          </a:prstGeom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7218F93-96F9-462F-BAFB-7E145859AED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99171" y="-99171"/>
            <a:ext cx="1058956" cy="1257300"/>
          </a:xfrm>
          <a:prstGeom prst="rect">
            <a:avLst/>
          </a:prstGeom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EC3E81A0-9853-4F50-A63A-07CECD490F96}"/>
              </a:ext>
            </a:extLst>
          </p:cNvPr>
          <p:cNvSpPr txBox="1"/>
          <p:nvPr/>
        </p:nvSpPr>
        <p:spPr>
          <a:xfrm>
            <a:off x="1367227" y="80984"/>
            <a:ext cx="2193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ART ONE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17F88ED-E918-45C7-8ED4-BD8E20C0EB3A}"/>
              </a:ext>
            </a:extLst>
          </p:cNvPr>
          <p:cNvSpPr txBox="1"/>
          <p:nvPr/>
        </p:nvSpPr>
        <p:spPr>
          <a:xfrm>
            <a:off x="3258258" y="120128"/>
            <a:ext cx="2957124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000" spc="600" dirty="0">
                <a:latin typeface="+mn-lt"/>
                <a:ea typeface="+mn-ea"/>
                <a:cs typeface="+mn-ea"/>
                <a:sym typeface="+mn-lt"/>
              </a:rPr>
              <a:t>教学分析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B7517083-ED4E-4155-99F7-793FEC124988}"/>
              </a:ext>
            </a:extLst>
          </p:cNvPr>
          <p:cNvSpPr>
            <a:spLocks/>
          </p:cNvSpPr>
          <p:nvPr/>
        </p:nvSpPr>
        <p:spPr bwMode="auto">
          <a:xfrm>
            <a:off x="4655354" y="2312440"/>
            <a:ext cx="1522663" cy="1504607"/>
          </a:xfrm>
          <a:custGeom>
            <a:avLst/>
            <a:gdLst>
              <a:gd name="T0" fmla="*/ 0 w 1012"/>
              <a:gd name="T1" fmla="*/ 1000 h 1000"/>
              <a:gd name="T2" fmla="*/ 1012 w 1012"/>
              <a:gd name="T3" fmla="*/ 1000 h 1000"/>
              <a:gd name="T4" fmla="*/ 1012 w 1012"/>
              <a:gd name="T5" fmla="*/ 262 h 1000"/>
              <a:gd name="T6" fmla="*/ 504 w 1012"/>
              <a:gd name="T7" fmla="*/ 0 h 1000"/>
              <a:gd name="T8" fmla="*/ 0 w 1012"/>
              <a:gd name="T9" fmla="*/ 262 h 1000"/>
              <a:gd name="T10" fmla="*/ 0 w 1012"/>
              <a:gd name="T11" fmla="*/ 1000 h 1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12" h="1000">
                <a:moveTo>
                  <a:pt x="0" y="1000"/>
                </a:moveTo>
                <a:lnTo>
                  <a:pt x="1012" y="1000"/>
                </a:lnTo>
                <a:lnTo>
                  <a:pt x="1012" y="262"/>
                </a:lnTo>
                <a:lnTo>
                  <a:pt x="504" y="0"/>
                </a:lnTo>
                <a:lnTo>
                  <a:pt x="0" y="262"/>
                </a:lnTo>
                <a:lnTo>
                  <a:pt x="0" y="1000"/>
                </a:lnTo>
                <a:close/>
              </a:path>
            </a:pathLst>
          </a:custGeom>
          <a:solidFill>
            <a:srgbClr val="D00000"/>
          </a:solidFill>
          <a:ln>
            <a:noFill/>
          </a:ln>
        </p:spPr>
        <p:txBody>
          <a:bodyPr vert="horz" wrap="square" lIns="86665" tIns="43333" rIns="86665" bIns="43333" numCol="1" anchor="t" anchorCtr="0" compatLnSpc="1">
            <a:prstTxWarp prst="textNoShape">
              <a:avLst/>
            </a:prstTxWarp>
          </a:bodyPr>
          <a:lstStyle/>
          <a:p>
            <a:endParaRPr lang="zh-CN" altLang="en-US" sz="1770">
              <a:cs typeface="+mn-ea"/>
              <a:sym typeface="+mn-lt"/>
            </a:endParaRPr>
          </a:p>
        </p:txBody>
      </p:sp>
      <p:sp>
        <p:nvSpPr>
          <p:cNvPr id="10" name="Freeform 6">
            <a:extLst>
              <a:ext uri="{FF2B5EF4-FFF2-40B4-BE49-F238E27FC236}">
                <a16:creationId xmlns:a16="http://schemas.microsoft.com/office/drawing/2014/main" id="{6650B040-0FA8-4275-91A4-8C64F1447683}"/>
              </a:ext>
            </a:extLst>
          </p:cNvPr>
          <p:cNvSpPr>
            <a:spLocks/>
          </p:cNvSpPr>
          <p:nvPr/>
        </p:nvSpPr>
        <p:spPr bwMode="auto">
          <a:xfrm>
            <a:off x="4655354" y="4083362"/>
            <a:ext cx="1522663" cy="947903"/>
          </a:xfrm>
          <a:custGeom>
            <a:avLst/>
            <a:gdLst>
              <a:gd name="T0" fmla="*/ 0 w 1012"/>
              <a:gd name="T1" fmla="*/ 0 h 630"/>
              <a:gd name="T2" fmla="*/ 1012 w 1012"/>
              <a:gd name="T3" fmla="*/ 0 h 630"/>
              <a:gd name="T4" fmla="*/ 1012 w 1012"/>
              <a:gd name="T5" fmla="*/ 371 h 630"/>
              <a:gd name="T6" fmla="*/ 504 w 1012"/>
              <a:gd name="T7" fmla="*/ 630 h 630"/>
              <a:gd name="T8" fmla="*/ 0 w 1012"/>
              <a:gd name="T9" fmla="*/ 371 h 630"/>
              <a:gd name="T10" fmla="*/ 0 w 1012"/>
              <a:gd name="T11" fmla="*/ 0 h 6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12" h="630">
                <a:moveTo>
                  <a:pt x="0" y="0"/>
                </a:moveTo>
                <a:lnTo>
                  <a:pt x="1012" y="0"/>
                </a:lnTo>
                <a:lnTo>
                  <a:pt x="1012" y="371"/>
                </a:lnTo>
                <a:lnTo>
                  <a:pt x="504" y="630"/>
                </a:lnTo>
                <a:lnTo>
                  <a:pt x="0" y="371"/>
                </a:lnTo>
                <a:lnTo>
                  <a:pt x="0" y="0"/>
                </a:lnTo>
                <a:close/>
              </a:path>
            </a:pathLst>
          </a:custGeom>
          <a:solidFill>
            <a:srgbClr val="D00000"/>
          </a:solidFill>
          <a:ln>
            <a:noFill/>
          </a:ln>
        </p:spPr>
        <p:txBody>
          <a:bodyPr vert="horz" wrap="square" lIns="86665" tIns="43333" rIns="86665" bIns="43333" numCol="1" anchor="t" anchorCtr="0" compatLnSpc="1">
            <a:prstTxWarp prst="textNoShape">
              <a:avLst/>
            </a:prstTxWarp>
          </a:bodyPr>
          <a:lstStyle/>
          <a:p>
            <a:endParaRPr lang="zh-CN" altLang="en-US" sz="1770">
              <a:cs typeface="+mn-ea"/>
              <a:sym typeface="+mn-lt"/>
            </a:endParaRPr>
          </a:p>
        </p:txBody>
      </p:sp>
      <p:sp>
        <p:nvSpPr>
          <p:cNvPr id="11" name="Freeform 7">
            <a:extLst>
              <a:ext uri="{FF2B5EF4-FFF2-40B4-BE49-F238E27FC236}">
                <a16:creationId xmlns:a16="http://schemas.microsoft.com/office/drawing/2014/main" id="{AE7BA1FE-3DD5-40E8-8B17-4CD51C465349}"/>
              </a:ext>
            </a:extLst>
          </p:cNvPr>
          <p:cNvSpPr>
            <a:spLocks/>
          </p:cNvSpPr>
          <p:nvPr/>
        </p:nvSpPr>
        <p:spPr bwMode="auto">
          <a:xfrm>
            <a:off x="6382642" y="1820431"/>
            <a:ext cx="1516644" cy="1996614"/>
          </a:xfrm>
          <a:custGeom>
            <a:avLst/>
            <a:gdLst>
              <a:gd name="T0" fmla="*/ 0 w 1008"/>
              <a:gd name="T1" fmla="*/ 1327 h 1327"/>
              <a:gd name="T2" fmla="*/ 1008 w 1008"/>
              <a:gd name="T3" fmla="*/ 1327 h 1327"/>
              <a:gd name="T4" fmla="*/ 1008 w 1008"/>
              <a:gd name="T5" fmla="*/ 262 h 1327"/>
              <a:gd name="T6" fmla="*/ 504 w 1008"/>
              <a:gd name="T7" fmla="*/ 0 h 1327"/>
              <a:gd name="T8" fmla="*/ 0 w 1008"/>
              <a:gd name="T9" fmla="*/ 262 h 1327"/>
              <a:gd name="T10" fmla="*/ 0 w 1008"/>
              <a:gd name="T11" fmla="*/ 1327 h 1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08" h="1327">
                <a:moveTo>
                  <a:pt x="0" y="1327"/>
                </a:moveTo>
                <a:lnTo>
                  <a:pt x="1008" y="1327"/>
                </a:lnTo>
                <a:lnTo>
                  <a:pt x="1008" y="262"/>
                </a:lnTo>
                <a:lnTo>
                  <a:pt x="504" y="0"/>
                </a:lnTo>
                <a:lnTo>
                  <a:pt x="0" y="262"/>
                </a:lnTo>
                <a:lnTo>
                  <a:pt x="0" y="1327"/>
                </a:lnTo>
                <a:close/>
              </a:path>
            </a:pathLst>
          </a:custGeom>
          <a:solidFill>
            <a:srgbClr val="6FCEFE"/>
          </a:solidFill>
          <a:ln>
            <a:noFill/>
          </a:ln>
        </p:spPr>
        <p:txBody>
          <a:bodyPr vert="horz" wrap="square" lIns="86665" tIns="43333" rIns="86665" bIns="43333" numCol="1" anchor="t" anchorCtr="0" compatLnSpc="1">
            <a:prstTxWarp prst="textNoShape">
              <a:avLst/>
            </a:prstTxWarp>
          </a:bodyPr>
          <a:lstStyle/>
          <a:p>
            <a:endParaRPr lang="zh-CN" altLang="en-US" sz="1770">
              <a:cs typeface="+mn-ea"/>
              <a:sym typeface="+mn-lt"/>
            </a:endParaRPr>
          </a:p>
        </p:txBody>
      </p:sp>
      <p:sp>
        <p:nvSpPr>
          <p:cNvPr id="12" name="Freeform 8">
            <a:extLst>
              <a:ext uri="{FF2B5EF4-FFF2-40B4-BE49-F238E27FC236}">
                <a16:creationId xmlns:a16="http://schemas.microsoft.com/office/drawing/2014/main" id="{0B127F05-46AE-4F3B-838F-73CCDC9B31B1}"/>
              </a:ext>
            </a:extLst>
          </p:cNvPr>
          <p:cNvSpPr>
            <a:spLocks/>
          </p:cNvSpPr>
          <p:nvPr/>
        </p:nvSpPr>
        <p:spPr bwMode="auto">
          <a:xfrm>
            <a:off x="6382642" y="4083360"/>
            <a:ext cx="1516644" cy="649990"/>
          </a:xfrm>
          <a:custGeom>
            <a:avLst/>
            <a:gdLst>
              <a:gd name="T0" fmla="*/ 0 w 1008"/>
              <a:gd name="T1" fmla="*/ 0 h 432"/>
              <a:gd name="T2" fmla="*/ 1008 w 1008"/>
              <a:gd name="T3" fmla="*/ 0 h 432"/>
              <a:gd name="T4" fmla="*/ 1008 w 1008"/>
              <a:gd name="T5" fmla="*/ 170 h 432"/>
              <a:gd name="T6" fmla="*/ 504 w 1008"/>
              <a:gd name="T7" fmla="*/ 432 h 432"/>
              <a:gd name="T8" fmla="*/ 0 w 1008"/>
              <a:gd name="T9" fmla="*/ 170 h 432"/>
              <a:gd name="T10" fmla="*/ 0 w 1008"/>
              <a:gd name="T11" fmla="*/ 0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08" h="432">
                <a:moveTo>
                  <a:pt x="0" y="0"/>
                </a:moveTo>
                <a:lnTo>
                  <a:pt x="1008" y="0"/>
                </a:lnTo>
                <a:lnTo>
                  <a:pt x="1008" y="170"/>
                </a:lnTo>
                <a:lnTo>
                  <a:pt x="504" y="432"/>
                </a:lnTo>
                <a:lnTo>
                  <a:pt x="0" y="170"/>
                </a:lnTo>
                <a:lnTo>
                  <a:pt x="0" y="0"/>
                </a:lnTo>
                <a:close/>
              </a:path>
            </a:pathLst>
          </a:custGeom>
          <a:solidFill>
            <a:srgbClr val="6FCEFE"/>
          </a:solidFill>
          <a:ln>
            <a:noFill/>
          </a:ln>
        </p:spPr>
        <p:txBody>
          <a:bodyPr vert="horz" wrap="square" lIns="86665" tIns="43333" rIns="86665" bIns="43333" numCol="1" anchor="t" anchorCtr="0" compatLnSpc="1">
            <a:prstTxWarp prst="textNoShape">
              <a:avLst/>
            </a:prstTxWarp>
          </a:bodyPr>
          <a:lstStyle/>
          <a:p>
            <a:endParaRPr lang="zh-CN" altLang="en-US" sz="1770">
              <a:cs typeface="+mn-ea"/>
              <a:sym typeface="+mn-lt"/>
            </a:endParaRPr>
          </a:p>
        </p:txBody>
      </p:sp>
      <p:sp>
        <p:nvSpPr>
          <p:cNvPr id="13" name="文本框 14">
            <a:extLst>
              <a:ext uri="{FF2B5EF4-FFF2-40B4-BE49-F238E27FC236}">
                <a16:creationId xmlns:a16="http://schemas.microsoft.com/office/drawing/2014/main" id="{D822B4F2-CDE0-4606-8016-425DFA0513A1}"/>
              </a:ext>
            </a:extLst>
          </p:cNvPr>
          <p:cNvSpPr txBox="1"/>
          <p:nvPr/>
        </p:nvSpPr>
        <p:spPr>
          <a:xfrm>
            <a:off x="4607955" y="3199952"/>
            <a:ext cx="1617456" cy="6174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412" dirty="0">
                <a:solidFill>
                  <a:schemeClr val="bg1"/>
                </a:solidFill>
                <a:cs typeface="+mn-ea"/>
                <a:sym typeface="+mn-lt"/>
              </a:rPr>
              <a:t>75%</a:t>
            </a:r>
            <a:endParaRPr lang="zh-CN" altLang="en-US" sz="3412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4" name="文本框 15">
            <a:extLst>
              <a:ext uri="{FF2B5EF4-FFF2-40B4-BE49-F238E27FC236}">
                <a16:creationId xmlns:a16="http://schemas.microsoft.com/office/drawing/2014/main" id="{35EFC84B-3BCF-427C-86DD-98FDC03D35DB}"/>
              </a:ext>
            </a:extLst>
          </p:cNvPr>
          <p:cNvSpPr txBox="1"/>
          <p:nvPr/>
        </p:nvSpPr>
        <p:spPr>
          <a:xfrm>
            <a:off x="6372097" y="2682348"/>
            <a:ext cx="1617456" cy="6174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412" dirty="0">
                <a:solidFill>
                  <a:schemeClr val="bg1"/>
                </a:solidFill>
                <a:cs typeface="+mn-ea"/>
                <a:sym typeface="+mn-lt"/>
              </a:rPr>
              <a:t>85%</a:t>
            </a:r>
            <a:endParaRPr lang="zh-CN" altLang="en-US" sz="3412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5" name="文本框 16">
            <a:extLst>
              <a:ext uri="{FF2B5EF4-FFF2-40B4-BE49-F238E27FC236}">
                <a16:creationId xmlns:a16="http://schemas.microsoft.com/office/drawing/2014/main" id="{D9F12FA5-B581-4B57-9CDF-27AA58C33FD3}"/>
              </a:ext>
            </a:extLst>
          </p:cNvPr>
          <p:cNvSpPr txBox="1"/>
          <p:nvPr/>
        </p:nvSpPr>
        <p:spPr>
          <a:xfrm>
            <a:off x="4607955" y="5123045"/>
            <a:ext cx="1617456" cy="6174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412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25%</a:t>
            </a:r>
            <a:endParaRPr lang="zh-CN" altLang="en-US" sz="3412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6" name="文本框 17">
            <a:extLst>
              <a:ext uri="{FF2B5EF4-FFF2-40B4-BE49-F238E27FC236}">
                <a16:creationId xmlns:a16="http://schemas.microsoft.com/office/drawing/2014/main" id="{FEF6CF9D-3A4E-46BF-8813-132714B90170}"/>
              </a:ext>
            </a:extLst>
          </p:cNvPr>
          <p:cNvSpPr txBox="1"/>
          <p:nvPr/>
        </p:nvSpPr>
        <p:spPr>
          <a:xfrm>
            <a:off x="6382641" y="4772272"/>
            <a:ext cx="1617456" cy="6174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412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15%</a:t>
            </a:r>
            <a:endParaRPr lang="zh-CN" altLang="en-US" sz="3412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80551267-4DBD-47E2-A8E4-0BD721B635E1}"/>
              </a:ext>
            </a:extLst>
          </p:cNvPr>
          <p:cNvGrpSpPr/>
          <p:nvPr/>
        </p:nvGrpSpPr>
        <p:grpSpPr>
          <a:xfrm>
            <a:off x="3446409" y="4311189"/>
            <a:ext cx="564911" cy="564910"/>
            <a:chOff x="1551063" y="3554018"/>
            <a:chExt cx="564910" cy="564910"/>
          </a:xfrm>
        </p:grpSpPr>
        <p:sp>
          <p:nvSpPr>
            <p:cNvPr id="18" name="Oval 131" descr="e7d195523061f1c0205959036996ad55c215b892a7aac5c0B9ADEF7896FB48F2EF97163A2DE1401E1875DEDC438B7864AD24CA23553DBBBD975DAF4CAD4A2592689FFB6CEE59FFA55B2702D0E5EE29CDFFAB234219E93DD38E3B1014B0CC2E9383018C70FAE29AA5FF0A83E1D011C51E35A65F43CED0ADA1369AD76A5FB6D093DE04E78520D1B99C">
              <a:extLst>
                <a:ext uri="{FF2B5EF4-FFF2-40B4-BE49-F238E27FC236}">
                  <a16:creationId xmlns:a16="http://schemas.microsoft.com/office/drawing/2014/main" id="{45B33443-B9EC-4160-8D9F-3E8E8FD1B0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51063" y="3554018"/>
              <a:ext cx="564910" cy="564910"/>
            </a:xfrm>
            <a:prstGeom prst="ellipse">
              <a:avLst/>
            </a:prstGeom>
            <a:solidFill>
              <a:srgbClr val="D00000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 b="1" dirty="0">
                <a:cs typeface="+mn-ea"/>
                <a:sym typeface="+mn-lt"/>
              </a:endParaRPr>
            </a:p>
          </p:txBody>
        </p:sp>
        <p:sp>
          <p:nvSpPr>
            <p:cNvPr id="19" name="Freeform 48" descr="e7d195523061f1c0205959036996ad55c215b892a7aac5c0B9ADEF7896FB48F2EF97163A2DE1401E1875DEDC438B7864AD24CA23553DBBBD975DAF4CAD4A2592689FFB6CEE59FFA55B2702D0E5EE29CDFFAB234219E93DD38E3B1014B0CC2E9383018C70FAE29AA5FF0A83E1D011C51E35A65F43CED0ADA1369AD76A5FB6D093DE04E78520D1B99C">
              <a:extLst>
                <a:ext uri="{FF2B5EF4-FFF2-40B4-BE49-F238E27FC236}">
                  <a16:creationId xmlns:a16="http://schemas.microsoft.com/office/drawing/2014/main" id="{420CF2A7-B2C5-4B70-AC11-06D73FECD975}"/>
                </a:ext>
              </a:extLst>
            </p:cNvPr>
            <p:cNvSpPr/>
            <p:nvPr/>
          </p:nvSpPr>
          <p:spPr>
            <a:xfrm>
              <a:off x="1702014" y="3720335"/>
              <a:ext cx="254052" cy="255013"/>
            </a:xfrm>
            <a:custGeom>
              <a:avLst/>
              <a:gdLst/>
              <a:ahLst/>
              <a:cxnLst/>
              <a:rect l="l" t="t" r="r" b="b"/>
              <a:pathLst>
                <a:path w="204608" h="205382">
                  <a:moveTo>
                    <a:pt x="46881" y="32147"/>
                  </a:moveTo>
                  <a:cubicBezTo>
                    <a:pt x="48667" y="31254"/>
                    <a:pt x="50155" y="31551"/>
                    <a:pt x="51346" y="33039"/>
                  </a:cubicBezTo>
                  <a:cubicBezTo>
                    <a:pt x="52536" y="34825"/>
                    <a:pt x="52239" y="36314"/>
                    <a:pt x="50453" y="37504"/>
                  </a:cubicBezTo>
                  <a:cubicBezTo>
                    <a:pt x="37356" y="45541"/>
                    <a:pt x="30807" y="57298"/>
                    <a:pt x="30807" y="72777"/>
                  </a:cubicBezTo>
                  <a:cubicBezTo>
                    <a:pt x="30807" y="74860"/>
                    <a:pt x="29766" y="75902"/>
                    <a:pt x="27682" y="75902"/>
                  </a:cubicBezTo>
                  <a:cubicBezTo>
                    <a:pt x="25599" y="75902"/>
                    <a:pt x="24557" y="74860"/>
                    <a:pt x="24557" y="72777"/>
                  </a:cubicBezTo>
                  <a:cubicBezTo>
                    <a:pt x="24557" y="54917"/>
                    <a:pt x="31998" y="41374"/>
                    <a:pt x="46881" y="32147"/>
                  </a:cubicBezTo>
                  <a:close/>
                  <a:moveTo>
                    <a:pt x="61168" y="25896"/>
                  </a:moveTo>
                  <a:cubicBezTo>
                    <a:pt x="63252" y="25300"/>
                    <a:pt x="64591" y="26045"/>
                    <a:pt x="65187" y="28128"/>
                  </a:cubicBezTo>
                  <a:cubicBezTo>
                    <a:pt x="65782" y="30212"/>
                    <a:pt x="65038" y="31551"/>
                    <a:pt x="62954" y="32147"/>
                  </a:cubicBezTo>
                  <a:cubicBezTo>
                    <a:pt x="62657" y="32147"/>
                    <a:pt x="62136" y="32221"/>
                    <a:pt x="61392" y="32370"/>
                  </a:cubicBezTo>
                  <a:cubicBezTo>
                    <a:pt x="60648" y="32519"/>
                    <a:pt x="60127" y="32742"/>
                    <a:pt x="59829" y="33039"/>
                  </a:cubicBezTo>
                  <a:lnTo>
                    <a:pt x="58936" y="33039"/>
                  </a:lnTo>
                  <a:cubicBezTo>
                    <a:pt x="57448" y="33039"/>
                    <a:pt x="56406" y="32295"/>
                    <a:pt x="55811" y="30807"/>
                  </a:cubicBezTo>
                  <a:cubicBezTo>
                    <a:pt x="55215" y="29319"/>
                    <a:pt x="55811" y="27979"/>
                    <a:pt x="57597" y="26789"/>
                  </a:cubicBezTo>
                  <a:cubicBezTo>
                    <a:pt x="58787" y="26789"/>
                    <a:pt x="59978" y="26491"/>
                    <a:pt x="61168" y="25896"/>
                  </a:cubicBezTo>
                  <a:close/>
                  <a:moveTo>
                    <a:pt x="72331" y="12948"/>
                  </a:moveTo>
                  <a:cubicBezTo>
                    <a:pt x="55959" y="12948"/>
                    <a:pt x="41895" y="18752"/>
                    <a:pt x="30138" y="30361"/>
                  </a:cubicBezTo>
                  <a:cubicBezTo>
                    <a:pt x="18380" y="41969"/>
                    <a:pt x="12502" y="55959"/>
                    <a:pt x="12502" y="72330"/>
                  </a:cubicBezTo>
                  <a:cubicBezTo>
                    <a:pt x="12502" y="88999"/>
                    <a:pt x="18380" y="103138"/>
                    <a:pt x="30138" y="114746"/>
                  </a:cubicBezTo>
                  <a:cubicBezTo>
                    <a:pt x="41895" y="126355"/>
                    <a:pt x="55959" y="132159"/>
                    <a:pt x="72331" y="132159"/>
                  </a:cubicBezTo>
                  <a:cubicBezTo>
                    <a:pt x="82451" y="132159"/>
                    <a:pt x="91678" y="129778"/>
                    <a:pt x="100013" y="125015"/>
                  </a:cubicBezTo>
                  <a:cubicBezTo>
                    <a:pt x="102691" y="123527"/>
                    <a:pt x="105222" y="123973"/>
                    <a:pt x="107603" y="126355"/>
                  </a:cubicBezTo>
                  <a:lnTo>
                    <a:pt x="132606" y="151358"/>
                  </a:lnTo>
                  <a:lnTo>
                    <a:pt x="134838" y="149572"/>
                  </a:lnTo>
                  <a:cubicBezTo>
                    <a:pt x="137517" y="148084"/>
                    <a:pt x="140047" y="148232"/>
                    <a:pt x="142429" y="150018"/>
                  </a:cubicBezTo>
                  <a:lnTo>
                    <a:pt x="150912" y="157162"/>
                  </a:lnTo>
                  <a:cubicBezTo>
                    <a:pt x="153293" y="159543"/>
                    <a:pt x="153740" y="161925"/>
                    <a:pt x="152251" y="164306"/>
                  </a:cubicBezTo>
                  <a:lnTo>
                    <a:pt x="150465" y="169217"/>
                  </a:lnTo>
                  <a:lnTo>
                    <a:pt x="157609" y="176361"/>
                  </a:lnTo>
                  <a:lnTo>
                    <a:pt x="167878" y="177254"/>
                  </a:lnTo>
                  <a:cubicBezTo>
                    <a:pt x="170259" y="177254"/>
                    <a:pt x="172045" y="178593"/>
                    <a:pt x="173236" y="181272"/>
                  </a:cubicBezTo>
                  <a:lnTo>
                    <a:pt x="176808" y="191541"/>
                  </a:lnTo>
                  <a:lnTo>
                    <a:pt x="191542" y="187970"/>
                  </a:lnTo>
                  <a:lnTo>
                    <a:pt x="189309" y="169217"/>
                  </a:lnTo>
                  <a:lnTo>
                    <a:pt x="126802" y="106263"/>
                  </a:lnTo>
                  <a:cubicBezTo>
                    <a:pt x="124420" y="103882"/>
                    <a:pt x="123974" y="101500"/>
                    <a:pt x="125462" y="99119"/>
                  </a:cubicBezTo>
                  <a:cubicBezTo>
                    <a:pt x="129629" y="91082"/>
                    <a:pt x="131713" y="82153"/>
                    <a:pt x="131713" y="72330"/>
                  </a:cubicBezTo>
                  <a:cubicBezTo>
                    <a:pt x="131713" y="55959"/>
                    <a:pt x="125909" y="41969"/>
                    <a:pt x="114300" y="30361"/>
                  </a:cubicBezTo>
                  <a:cubicBezTo>
                    <a:pt x="102691" y="18752"/>
                    <a:pt x="88702" y="12948"/>
                    <a:pt x="72331" y="12948"/>
                  </a:cubicBezTo>
                  <a:close/>
                  <a:moveTo>
                    <a:pt x="72331" y="0"/>
                  </a:moveTo>
                  <a:cubicBezTo>
                    <a:pt x="92274" y="0"/>
                    <a:pt x="109314" y="7069"/>
                    <a:pt x="123453" y="21208"/>
                  </a:cubicBezTo>
                  <a:cubicBezTo>
                    <a:pt x="137592" y="35346"/>
                    <a:pt x="144661" y="52387"/>
                    <a:pt x="144661" y="72330"/>
                  </a:cubicBezTo>
                  <a:cubicBezTo>
                    <a:pt x="144661" y="81260"/>
                    <a:pt x="142726" y="90636"/>
                    <a:pt x="138857" y="100459"/>
                  </a:cubicBezTo>
                  <a:lnTo>
                    <a:pt x="200025" y="161627"/>
                  </a:lnTo>
                  <a:cubicBezTo>
                    <a:pt x="201216" y="162818"/>
                    <a:pt x="201811" y="164157"/>
                    <a:pt x="201811" y="165645"/>
                  </a:cubicBezTo>
                  <a:lnTo>
                    <a:pt x="204490" y="192434"/>
                  </a:lnTo>
                  <a:cubicBezTo>
                    <a:pt x="205085" y="196304"/>
                    <a:pt x="203448" y="198536"/>
                    <a:pt x="199579" y="199132"/>
                  </a:cubicBezTo>
                  <a:lnTo>
                    <a:pt x="174129" y="204936"/>
                  </a:lnTo>
                  <a:cubicBezTo>
                    <a:pt x="173831" y="205234"/>
                    <a:pt x="173385" y="205382"/>
                    <a:pt x="172790" y="205382"/>
                  </a:cubicBezTo>
                  <a:cubicBezTo>
                    <a:pt x="169515" y="205382"/>
                    <a:pt x="167432" y="203894"/>
                    <a:pt x="166539" y="200918"/>
                  </a:cubicBezTo>
                  <a:lnTo>
                    <a:pt x="162967" y="189309"/>
                  </a:lnTo>
                  <a:lnTo>
                    <a:pt x="154484" y="188863"/>
                  </a:lnTo>
                  <a:cubicBezTo>
                    <a:pt x="152698" y="188863"/>
                    <a:pt x="151358" y="188267"/>
                    <a:pt x="150465" y="187077"/>
                  </a:cubicBezTo>
                  <a:lnTo>
                    <a:pt x="138410" y="175022"/>
                  </a:lnTo>
                  <a:cubicBezTo>
                    <a:pt x="136624" y="173236"/>
                    <a:pt x="136178" y="170854"/>
                    <a:pt x="137071" y="167878"/>
                  </a:cubicBezTo>
                  <a:lnTo>
                    <a:pt x="138857" y="163859"/>
                  </a:lnTo>
                  <a:lnTo>
                    <a:pt x="137964" y="162966"/>
                  </a:lnTo>
                  <a:lnTo>
                    <a:pt x="135731" y="164752"/>
                  </a:lnTo>
                  <a:cubicBezTo>
                    <a:pt x="132755" y="166538"/>
                    <a:pt x="129927" y="166390"/>
                    <a:pt x="127248" y="164306"/>
                  </a:cubicBezTo>
                  <a:lnTo>
                    <a:pt x="101799" y="138410"/>
                  </a:lnTo>
                  <a:cubicBezTo>
                    <a:pt x="91976" y="142577"/>
                    <a:pt x="82153" y="144661"/>
                    <a:pt x="72331" y="144661"/>
                  </a:cubicBezTo>
                  <a:cubicBezTo>
                    <a:pt x="52388" y="144661"/>
                    <a:pt x="35347" y="137666"/>
                    <a:pt x="21208" y="123676"/>
                  </a:cubicBezTo>
                  <a:cubicBezTo>
                    <a:pt x="7069" y="109686"/>
                    <a:pt x="0" y="92571"/>
                    <a:pt x="0" y="72330"/>
                  </a:cubicBezTo>
                  <a:cubicBezTo>
                    <a:pt x="0" y="52387"/>
                    <a:pt x="7069" y="35346"/>
                    <a:pt x="21208" y="21208"/>
                  </a:cubicBezTo>
                  <a:cubicBezTo>
                    <a:pt x="35347" y="7069"/>
                    <a:pt x="52388" y="0"/>
                    <a:pt x="7233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</p:grpSp>
      <p:sp>
        <p:nvSpPr>
          <p:cNvPr id="20" name="Rectangle 89" descr="e7d195523061f1c0205959036996ad55c215b892a7aac5c0B9ADEF7896FB48F2EF97163A2DE1401E1875DEDC438B7864AD24CA23553DBBBD975DAF4CAD4A2592689FFB6CEE59FFA55B2702D0E5EE29CDFC0DD98BC7D6A39A972B9CF5C57439F63DF8F9992C06A5DCF328E37031B8E7966000C8DF7F63EAFDD8644C15722395F61CC450D784C36B19">
            <a:extLst>
              <a:ext uri="{FF2B5EF4-FFF2-40B4-BE49-F238E27FC236}">
                <a16:creationId xmlns:a16="http://schemas.microsoft.com/office/drawing/2014/main" id="{A5C0ECAA-AC34-4BBA-A526-87B26FA39A83}"/>
              </a:ext>
            </a:extLst>
          </p:cNvPr>
          <p:cNvSpPr/>
          <p:nvPr/>
        </p:nvSpPr>
        <p:spPr>
          <a:xfrm>
            <a:off x="453242" y="4173278"/>
            <a:ext cx="2788541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200000"/>
              </a:lnSpc>
            </a:pPr>
            <a:r>
              <a:rPr lang="zh-CN" altLang="en-US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rPr>
              <a:t>输入标题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cs typeface="+mn-ea"/>
              <a:sym typeface="+mn-lt"/>
            </a:endParaRPr>
          </a:p>
          <a:p>
            <a:pPr algn="r">
              <a:lnSpc>
                <a:spcPts val="2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</a:p>
        </p:txBody>
      </p: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8D2074E7-3C5B-427F-A603-FF85B1BA0287}"/>
              </a:ext>
            </a:extLst>
          </p:cNvPr>
          <p:cNvGrpSpPr/>
          <p:nvPr/>
        </p:nvGrpSpPr>
        <p:grpSpPr>
          <a:xfrm>
            <a:off x="8486674" y="2973218"/>
            <a:ext cx="553999" cy="553998"/>
            <a:chOff x="6200107" y="4099518"/>
            <a:chExt cx="553998" cy="553998"/>
          </a:xfrm>
        </p:grpSpPr>
        <p:sp>
          <p:nvSpPr>
            <p:cNvPr id="22" name="椭圆 21">
              <a:extLst>
                <a:ext uri="{FF2B5EF4-FFF2-40B4-BE49-F238E27FC236}">
                  <a16:creationId xmlns:a16="http://schemas.microsoft.com/office/drawing/2014/main" id="{84A9284C-A386-41C6-9024-8AE095499C05}"/>
                </a:ext>
              </a:extLst>
            </p:cNvPr>
            <p:cNvSpPr/>
            <p:nvPr/>
          </p:nvSpPr>
          <p:spPr>
            <a:xfrm rot="2700000">
              <a:off x="6200107" y="4099518"/>
              <a:ext cx="553998" cy="553998"/>
            </a:xfrm>
            <a:prstGeom prst="ellipse">
              <a:avLst/>
            </a:prstGeom>
            <a:solidFill>
              <a:srgbClr val="6FCEFE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cs typeface="+mn-ea"/>
                <a:sym typeface="+mn-lt"/>
              </a:endParaRPr>
            </a:p>
          </p:txBody>
        </p:sp>
        <p:grpSp>
          <p:nvGrpSpPr>
            <p:cNvPr id="23" name="Group 68">
              <a:extLst>
                <a:ext uri="{FF2B5EF4-FFF2-40B4-BE49-F238E27FC236}">
                  <a16:creationId xmlns:a16="http://schemas.microsoft.com/office/drawing/2014/main" id="{B25E2BC8-1FFB-4DD5-9AB0-97377CEFADD0}"/>
                </a:ext>
              </a:extLst>
            </p:cNvPr>
            <p:cNvGrpSpPr/>
            <p:nvPr/>
          </p:nvGrpSpPr>
          <p:grpSpPr>
            <a:xfrm>
              <a:off x="6360281" y="4248669"/>
              <a:ext cx="224097" cy="296970"/>
              <a:chOff x="3582988" y="3510757"/>
              <a:chExt cx="319088" cy="465138"/>
            </a:xfrm>
            <a:solidFill>
              <a:schemeClr val="bg1"/>
            </a:solidFill>
          </p:grpSpPr>
          <p:sp>
            <p:nvSpPr>
              <p:cNvPr id="24" name="AutoShape 113">
                <a:extLst>
                  <a:ext uri="{FF2B5EF4-FFF2-40B4-BE49-F238E27FC236}">
                    <a16:creationId xmlns:a16="http://schemas.microsoft.com/office/drawing/2014/main" id="{DE333252-BA25-4691-A886-4249589535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2988" y="3510757"/>
                <a:ext cx="319088" cy="465138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5386" y="14175"/>
                    </a:moveTo>
                    <a:lnTo>
                      <a:pt x="6223" y="14175"/>
                    </a:lnTo>
                    <a:cubicBezTo>
                      <a:pt x="5734" y="13446"/>
                      <a:pt x="5147" y="12716"/>
                      <a:pt x="4568" y="12003"/>
                    </a:cubicBezTo>
                    <a:cubicBezTo>
                      <a:pt x="3287" y="10427"/>
                      <a:pt x="1963" y="8797"/>
                      <a:pt x="1963" y="7425"/>
                    </a:cubicBezTo>
                    <a:cubicBezTo>
                      <a:pt x="1963" y="4075"/>
                      <a:pt x="5927" y="1350"/>
                      <a:pt x="10800" y="1350"/>
                    </a:cubicBezTo>
                    <a:cubicBezTo>
                      <a:pt x="15672" y="1350"/>
                      <a:pt x="19636" y="4075"/>
                      <a:pt x="19636" y="7425"/>
                    </a:cubicBezTo>
                    <a:cubicBezTo>
                      <a:pt x="19636" y="8787"/>
                      <a:pt x="18312" y="10425"/>
                      <a:pt x="17029" y="12011"/>
                    </a:cubicBezTo>
                    <a:cubicBezTo>
                      <a:pt x="16455" y="12723"/>
                      <a:pt x="15873" y="13449"/>
                      <a:pt x="15386" y="14175"/>
                    </a:cubicBezTo>
                    <a:moveTo>
                      <a:pt x="10800" y="20249"/>
                    </a:moveTo>
                    <a:cubicBezTo>
                      <a:pt x="9805" y="20249"/>
                      <a:pt x="9347" y="20171"/>
                      <a:pt x="8839" y="19406"/>
                    </a:cubicBezTo>
                    <a:lnTo>
                      <a:pt x="13000" y="19048"/>
                    </a:lnTo>
                    <a:cubicBezTo>
                      <a:pt x="12398" y="20164"/>
                      <a:pt x="11959" y="20249"/>
                      <a:pt x="10800" y="20249"/>
                    </a:cubicBezTo>
                    <a:moveTo>
                      <a:pt x="7595" y="16813"/>
                    </a:moveTo>
                    <a:cubicBezTo>
                      <a:pt x="7417" y="16407"/>
                      <a:pt x="7215" y="15978"/>
                      <a:pt x="6991" y="15525"/>
                    </a:cubicBezTo>
                    <a:lnTo>
                      <a:pt x="14616" y="15525"/>
                    </a:lnTo>
                    <a:cubicBezTo>
                      <a:pt x="14496" y="15767"/>
                      <a:pt x="14375" y="16010"/>
                      <a:pt x="14270" y="16239"/>
                    </a:cubicBezTo>
                    <a:cubicBezTo>
                      <a:pt x="14270" y="16239"/>
                      <a:pt x="7595" y="16813"/>
                      <a:pt x="7595" y="16813"/>
                    </a:cubicBezTo>
                    <a:close/>
                    <a:moveTo>
                      <a:pt x="13345" y="18343"/>
                    </a:moveTo>
                    <a:lnTo>
                      <a:pt x="8476" y="18762"/>
                    </a:lnTo>
                    <a:cubicBezTo>
                      <a:pt x="8303" y="18416"/>
                      <a:pt x="8116" y="18011"/>
                      <a:pt x="7890" y="17483"/>
                    </a:cubicBezTo>
                    <a:cubicBezTo>
                      <a:pt x="7887" y="17477"/>
                      <a:pt x="7883" y="17469"/>
                      <a:pt x="7881" y="17462"/>
                    </a:cubicBezTo>
                    <a:lnTo>
                      <a:pt x="13957" y="16941"/>
                    </a:lnTo>
                    <a:cubicBezTo>
                      <a:pt x="13871" y="17140"/>
                      <a:pt x="13778" y="17350"/>
                      <a:pt x="13698" y="17537"/>
                    </a:cubicBezTo>
                    <a:cubicBezTo>
                      <a:pt x="13569" y="17841"/>
                      <a:pt x="13453" y="18104"/>
                      <a:pt x="13345" y="18343"/>
                    </a:cubicBezTo>
                    <a:moveTo>
                      <a:pt x="10800" y="0"/>
                    </a:moveTo>
                    <a:cubicBezTo>
                      <a:pt x="4835" y="0"/>
                      <a:pt x="0" y="3324"/>
                      <a:pt x="0" y="7425"/>
                    </a:cubicBezTo>
                    <a:cubicBezTo>
                      <a:pt x="0" y="10146"/>
                      <a:pt x="3621" y="13029"/>
                      <a:pt x="4939" y="15562"/>
                    </a:cubicBezTo>
                    <a:cubicBezTo>
                      <a:pt x="6906" y="19339"/>
                      <a:pt x="6688" y="21599"/>
                      <a:pt x="10800" y="21599"/>
                    </a:cubicBezTo>
                    <a:cubicBezTo>
                      <a:pt x="14972" y="21599"/>
                      <a:pt x="14692" y="19349"/>
                      <a:pt x="16660" y="15577"/>
                    </a:cubicBezTo>
                    <a:cubicBezTo>
                      <a:pt x="17983" y="13039"/>
                      <a:pt x="21600" y="10124"/>
                      <a:pt x="21600" y="7425"/>
                    </a:cubicBezTo>
                    <a:cubicBezTo>
                      <a:pt x="21600" y="3324"/>
                      <a:pt x="16764" y="0"/>
                      <a:pt x="10800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19050" tIns="19050" rIns="19050" bIns="19050" anchor="ctr"/>
              <a:lstStyle/>
              <a:p>
                <a:pPr algn="ctr" defTabSz="2286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chemeClr val="tx1">
                      <a:lumMod val="65000"/>
                      <a:lumOff val="35000"/>
                    </a:schemeClr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+mn-ea"/>
                  <a:sym typeface="+mn-lt"/>
                </a:endParaRPr>
              </a:p>
            </p:txBody>
          </p:sp>
          <p:sp>
            <p:nvSpPr>
              <p:cNvPr id="25" name="AutoShape 114">
                <a:extLst>
                  <a:ext uri="{FF2B5EF4-FFF2-40B4-BE49-F238E27FC236}">
                    <a16:creationId xmlns:a16="http://schemas.microsoft.com/office/drawing/2014/main" id="{5B08E999-B06A-40F8-91FE-0F7038AD13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5219" y="3583782"/>
                <a:ext cx="94456" cy="94456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9938" y="0"/>
                    </a:moveTo>
                    <a:cubicBezTo>
                      <a:pt x="8943" y="0"/>
                      <a:pt x="0" y="8942"/>
                      <a:pt x="0" y="19938"/>
                    </a:cubicBezTo>
                    <a:cubicBezTo>
                      <a:pt x="0" y="20855"/>
                      <a:pt x="743" y="21600"/>
                      <a:pt x="1661" y="21600"/>
                    </a:cubicBezTo>
                    <a:cubicBezTo>
                      <a:pt x="2579" y="21600"/>
                      <a:pt x="3323" y="20855"/>
                      <a:pt x="3323" y="19938"/>
                    </a:cubicBezTo>
                    <a:cubicBezTo>
                      <a:pt x="3323" y="10777"/>
                      <a:pt x="10777" y="3323"/>
                      <a:pt x="19938" y="3323"/>
                    </a:cubicBezTo>
                    <a:cubicBezTo>
                      <a:pt x="20856" y="3323"/>
                      <a:pt x="21600" y="2578"/>
                      <a:pt x="21600" y="1661"/>
                    </a:cubicBezTo>
                    <a:cubicBezTo>
                      <a:pt x="21600" y="744"/>
                      <a:pt x="20856" y="0"/>
                      <a:pt x="19938" y="0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19050" tIns="19050" rIns="19050" bIns="19050" anchor="ctr"/>
              <a:lstStyle/>
              <a:p>
                <a:pPr algn="ctr" defTabSz="2286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chemeClr val="tx1">
                      <a:lumMod val="65000"/>
                      <a:lumOff val="35000"/>
                    </a:schemeClr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+mn-ea"/>
                  <a:sym typeface="+mn-lt"/>
                </a:endParaRPr>
              </a:p>
            </p:txBody>
          </p:sp>
        </p:grpSp>
      </p:grpSp>
      <p:sp>
        <p:nvSpPr>
          <p:cNvPr id="26" name="Rectangle 89" descr="e7d195523061f1c0205959036996ad55c215b892a7aac5c0B9ADEF7896FB48F2EF97163A2DE1401E1875DEDC438B7864AD24CA23553DBBBD975DAF4CAD4A2592689FFB6CEE59FFA55B2702D0E5EE29CDFC0DD98BC7D6A39A972B9CF5C57439F63DF8F9992C06A5DCF328E37031B8E7966000C8DF7F63EAFDD8644C15722395F61CC450D784C36B19">
            <a:extLst>
              <a:ext uri="{FF2B5EF4-FFF2-40B4-BE49-F238E27FC236}">
                <a16:creationId xmlns:a16="http://schemas.microsoft.com/office/drawing/2014/main" id="{19094B2D-6294-44C6-8D1D-3BAED9C57607}"/>
              </a:ext>
            </a:extLst>
          </p:cNvPr>
          <p:cNvSpPr/>
          <p:nvPr/>
        </p:nvSpPr>
        <p:spPr>
          <a:xfrm>
            <a:off x="9255392" y="2494060"/>
            <a:ext cx="2746109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rPr>
              <a:t>输入标题</a:t>
            </a:r>
            <a:endParaRPr lang="en-US" altLang="zh-CN" sz="1400" dirty="0">
              <a:solidFill>
                <a:schemeClr val="tx1">
                  <a:lumMod val="65000"/>
                  <a:lumOff val="35000"/>
                </a:schemeClr>
              </a:solidFill>
              <a:cs typeface="+mn-ea"/>
              <a:sym typeface="+mn-lt"/>
            </a:endParaRPr>
          </a:p>
          <a:p>
            <a:pPr>
              <a:lnSpc>
                <a:spcPts val="2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</a:p>
        </p:txBody>
      </p:sp>
      <p:cxnSp>
        <p:nvCxnSpPr>
          <p:cNvPr id="27" name="直接连接符 26">
            <a:extLst>
              <a:ext uri="{FF2B5EF4-FFF2-40B4-BE49-F238E27FC236}">
                <a16:creationId xmlns:a16="http://schemas.microsoft.com/office/drawing/2014/main" id="{324A0236-7128-4247-AF94-41BEAD6AACF8}"/>
              </a:ext>
            </a:extLst>
          </p:cNvPr>
          <p:cNvCxnSpPr/>
          <p:nvPr/>
        </p:nvCxnSpPr>
        <p:spPr>
          <a:xfrm>
            <a:off x="0" y="3931492"/>
            <a:ext cx="12192000" cy="33249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8224641"/>
      </p:ext>
    </p:extLst>
  </p:cSld>
  <p:clrMapOvr>
    <a:masterClrMapping/>
  </p:clrMapOvr>
  <p:transition spd="slow" advClick="0" advTm="0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 tmFilter="0,0; .5, 1; 1, 1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650"/>
                            </p:stCondLst>
                            <p:childTnLst>
                              <p:par>
                                <p:cTn id="21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150"/>
                            </p:stCondLst>
                            <p:childTnLst>
                              <p:par>
                                <p:cTn id="25" presetID="17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17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150"/>
                            </p:stCondLst>
                            <p:childTnLst>
                              <p:par>
                                <p:cTn id="44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3900"/>
                            </p:stCondLst>
                            <p:childTnLst>
                              <p:par>
                                <p:cTn id="54" presetID="17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17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4900"/>
                            </p:stCondLst>
                            <p:childTnLst>
                              <p:par>
                                <p:cTn id="73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2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6" grpId="0" animBg="1"/>
      <p:bldP spid="10" grpId="0" animBg="1"/>
      <p:bldP spid="11" grpId="0" animBg="1"/>
      <p:bldP spid="12" grpId="0" animBg="1"/>
      <p:bldP spid="13" grpId="0"/>
      <p:bldP spid="14" grpId="0"/>
      <p:bldP spid="15" grpId="0"/>
      <p:bldP spid="16" grpId="0"/>
      <p:bldP spid="20" grpId="0"/>
      <p:bldP spid="2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3643088-BADE-4B2C-8D16-84C355AB00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4294"/>
            <a:ext cx="12202211" cy="6858000"/>
          </a:xfrm>
          <a:prstGeom prst="rect">
            <a:avLst/>
          </a:prstGeom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7218F93-96F9-462F-BAFB-7E145859AED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99171" y="-99171"/>
            <a:ext cx="1058956" cy="1257300"/>
          </a:xfrm>
          <a:prstGeom prst="rect">
            <a:avLst/>
          </a:prstGeom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EC3E81A0-9853-4F50-A63A-07CECD490F96}"/>
              </a:ext>
            </a:extLst>
          </p:cNvPr>
          <p:cNvSpPr txBox="1"/>
          <p:nvPr/>
        </p:nvSpPr>
        <p:spPr>
          <a:xfrm>
            <a:off x="1367227" y="80984"/>
            <a:ext cx="2193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ART ONE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17F88ED-E918-45C7-8ED4-BD8E20C0EB3A}"/>
              </a:ext>
            </a:extLst>
          </p:cNvPr>
          <p:cNvSpPr txBox="1"/>
          <p:nvPr/>
        </p:nvSpPr>
        <p:spPr>
          <a:xfrm>
            <a:off x="3258258" y="120128"/>
            <a:ext cx="2957124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000" spc="600" dirty="0">
                <a:latin typeface="+mn-lt"/>
                <a:ea typeface="+mn-ea"/>
                <a:cs typeface="+mn-ea"/>
                <a:sym typeface="+mn-lt"/>
              </a:rPr>
              <a:t>教学分析</a:t>
            </a:r>
          </a:p>
        </p:txBody>
      </p:sp>
      <p:graphicFrame>
        <p:nvGraphicFramePr>
          <p:cNvPr id="6" name="Chart 2">
            <a:extLst>
              <a:ext uri="{FF2B5EF4-FFF2-40B4-BE49-F238E27FC236}">
                <a16:creationId xmlns:a16="http://schemas.microsoft.com/office/drawing/2014/main" id="{99B5C937-4FF4-4254-8713-8D913227308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5893197"/>
              </p:ext>
            </p:extLst>
          </p:nvPr>
        </p:nvGraphicFramePr>
        <p:xfrm>
          <a:off x="6852221" y="2444857"/>
          <a:ext cx="3880919" cy="33608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文本框 9">
            <a:extLst>
              <a:ext uri="{FF2B5EF4-FFF2-40B4-BE49-F238E27FC236}">
                <a16:creationId xmlns:a16="http://schemas.microsoft.com/office/drawing/2014/main" id="{8F0B3FD9-3A05-41FC-8403-38D8D25E14F6}"/>
              </a:ext>
            </a:extLst>
          </p:cNvPr>
          <p:cNvSpPr txBox="1"/>
          <p:nvPr/>
        </p:nvSpPr>
        <p:spPr>
          <a:xfrm>
            <a:off x="1166863" y="2193619"/>
            <a:ext cx="553998" cy="2059372"/>
          </a:xfrm>
          <a:prstGeom prst="rect">
            <a:avLst/>
          </a:prstGeom>
          <a:noFill/>
          <a:ln>
            <a:noFill/>
          </a:ln>
        </p:spPr>
        <p:txBody>
          <a:bodyPr vert="eaVert" wrap="square" rtlCol="0">
            <a:spAutoFit/>
          </a:bodyPr>
          <a:lstStyle/>
          <a:p>
            <a:r>
              <a:rPr lang="zh-CN" altLang="en-US" sz="2400" spc="3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您的标题</a:t>
            </a:r>
          </a:p>
        </p:txBody>
      </p:sp>
      <p:sp>
        <p:nvSpPr>
          <p:cNvPr id="17" name="Shape 2687">
            <a:extLst>
              <a:ext uri="{FF2B5EF4-FFF2-40B4-BE49-F238E27FC236}">
                <a16:creationId xmlns:a16="http://schemas.microsoft.com/office/drawing/2014/main" id="{AC044F47-F90B-4860-A07C-E16AA451F7DD}"/>
              </a:ext>
            </a:extLst>
          </p:cNvPr>
          <p:cNvSpPr/>
          <p:nvPr/>
        </p:nvSpPr>
        <p:spPr>
          <a:xfrm>
            <a:off x="1864240" y="4392359"/>
            <a:ext cx="351987" cy="3519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16200"/>
                </a:moveTo>
                <a:lnTo>
                  <a:pt x="15709" y="16200"/>
                </a:lnTo>
                <a:lnTo>
                  <a:pt x="15709" y="14727"/>
                </a:lnTo>
                <a:lnTo>
                  <a:pt x="18655" y="14727"/>
                </a:lnTo>
                <a:cubicBezTo>
                  <a:pt x="18655" y="14727"/>
                  <a:pt x="18655" y="16200"/>
                  <a:pt x="18655" y="16200"/>
                </a:cubicBezTo>
                <a:close/>
                <a:moveTo>
                  <a:pt x="18655" y="18655"/>
                </a:moveTo>
                <a:lnTo>
                  <a:pt x="15709" y="18655"/>
                </a:lnTo>
                <a:lnTo>
                  <a:pt x="15709" y="17182"/>
                </a:lnTo>
                <a:lnTo>
                  <a:pt x="18655" y="17182"/>
                </a:lnTo>
                <a:cubicBezTo>
                  <a:pt x="18655" y="17182"/>
                  <a:pt x="18655" y="18655"/>
                  <a:pt x="18655" y="18655"/>
                </a:cubicBezTo>
                <a:close/>
                <a:moveTo>
                  <a:pt x="17182" y="20618"/>
                </a:moveTo>
                <a:cubicBezTo>
                  <a:pt x="16542" y="20618"/>
                  <a:pt x="16002" y="20207"/>
                  <a:pt x="15799" y="19636"/>
                </a:cubicBezTo>
                <a:lnTo>
                  <a:pt x="18564" y="19636"/>
                </a:lnTo>
                <a:cubicBezTo>
                  <a:pt x="18361" y="20207"/>
                  <a:pt x="17822" y="20618"/>
                  <a:pt x="17182" y="20618"/>
                </a:cubicBezTo>
                <a:moveTo>
                  <a:pt x="17182" y="12764"/>
                </a:moveTo>
                <a:cubicBezTo>
                  <a:pt x="17822" y="12764"/>
                  <a:pt x="18361" y="13175"/>
                  <a:pt x="18564" y="13745"/>
                </a:cubicBezTo>
                <a:lnTo>
                  <a:pt x="15799" y="13745"/>
                </a:lnTo>
                <a:cubicBezTo>
                  <a:pt x="16002" y="13175"/>
                  <a:pt x="16542" y="12764"/>
                  <a:pt x="17182" y="12764"/>
                </a:cubicBezTo>
                <a:moveTo>
                  <a:pt x="5891" y="16200"/>
                </a:moveTo>
                <a:lnTo>
                  <a:pt x="2945" y="16200"/>
                </a:lnTo>
                <a:lnTo>
                  <a:pt x="2945" y="14727"/>
                </a:lnTo>
                <a:lnTo>
                  <a:pt x="5891" y="14727"/>
                </a:lnTo>
                <a:cubicBezTo>
                  <a:pt x="5891" y="14727"/>
                  <a:pt x="5891" y="16200"/>
                  <a:pt x="5891" y="16200"/>
                </a:cubicBezTo>
                <a:close/>
                <a:moveTo>
                  <a:pt x="4418" y="12764"/>
                </a:moveTo>
                <a:cubicBezTo>
                  <a:pt x="5058" y="12764"/>
                  <a:pt x="5598" y="13175"/>
                  <a:pt x="5801" y="13745"/>
                </a:cubicBezTo>
                <a:lnTo>
                  <a:pt x="3036" y="13745"/>
                </a:lnTo>
                <a:cubicBezTo>
                  <a:pt x="3239" y="13175"/>
                  <a:pt x="3778" y="12764"/>
                  <a:pt x="4418" y="12764"/>
                </a:cubicBezTo>
                <a:moveTo>
                  <a:pt x="5891" y="18655"/>
                </a:moveTo>
                <a:lnTo>
                  <a:pt x="2945" y="18655"/>
                </a:lnTo>
                <a:lnTo>
                  <a:pt x="2945" y="17182"/>
                </a:lnTo>
                <a:lnTo>
                  <a:pt x="5891" y="17182"/>
                </a:lnTo>
                <a:cubicBezTo>
                  <a:pt x="5891" y="17182"/>
                  <a:pt x="5891" y="18655"/>
                  <a:pt x="5891" y="18655"/>
                </a:cubicBezTo>
                <a:close/>
                <a:moveTo>
                  <a:pt x="4418" y="20618"/>
                </a:moveTo>
                <a:cubicBezTo>
                  <a:pt x="3778" y="20618"/>
                  <a:pt x="3239" y="20207"/>
                  <a:pt x="3036" y="19636"/>
                </a:cubicBezTo>
                <a:lnTo>
                  <a:pt x="5801" y="19636"/>
                </a:lnTo>
                <a:cubicBezTo>
                  <a:pt x="5598" y="20207"/>
                  <a:pt x="5058" y="20618"/>
                  <a:pt x="4418" y="20618"/>
                </a:cubicBezTo>
                <a:moveTo>
                  <a:pt x="19636" y="13745"/>
                </a:moveTo>
                <a:lnTo>
                  <a:pt x="19636" y="8836"/>
                </a:lnTo>
                <a:cubicBezTo>
                  <a:pt x="19636" y="3956"/>
                  <a:pt x="15680" y="0"/>
                  <a:pt x="10800" y="0"/>
                </a:cubicBezTo>
                <a:cubicBezTo>
                  <a:pt x="5920" y="0"/>
                  <a:pt x="1964" y="3956"/>
                  <a:pt x="1964" y="8836"/>
                </a:cubicBezTo>
                <a:lnTo>
                  <a:pt x="1964" y="13745"/>
                </a:lnTo>
                <a:cubicBezTo>
                  <a:pt x="879" y="13745"/>
                  <a:pt x="0" y="14625"/>
                  <a:pt x="0" y="15709"/>
                </a:cubicBezTo>
                <a:lnTo>
                  <a:pt x="0" y="17673"/>
                </a:lnTo>
                <a:cubicBezTo>
                  <a:pt x="0" y="18757"/>
                  <a:pt x="879" y="19636"/>
                  <a:pt x="1964" y="19636"/>
                </a:cubicBezTo>
                <a:lnTo>
                  <a:pt x="2013" y="19636"/>
                </a:lnTo>
                <a:cubicBezTo>
                  <a:pt x="2241" y="20757"/>
                  <a:pt x="3231" y="21600"/>
                  <a:pt x="4418" y="21600"/>
                </a:cubicBezTo>
                <a:cubicBezTo>
                  <a:pt x="5774" y="21600"/>
                  <a:pt x="6873" y="20501"/>
                  <a:pt x="6873" y="19145"/>
                </a:cubicBezTo>
                <a:lnTo>
                  <a:pt x="6873" y="14236"/>
                </a:lnTo>
                <a:cubicBezTo>
                  <a:pt x="6873" y="12881"/>
                  <a:pt x="5774" y="11782"/>
                  <a:pt x="4418" y="11782"/>
                </a:cubicBezTo>
                <a:cubicBezTo>
                  <a:pt x="3864" y="11782"/>
                  <a:pt x="3356" y="11971"/>
                  <a:pt x="2945" y="12282"/>
                </a:cubicBezTo>
                <a:lnTo>
                  <a:pt x="2945" y="8836"/>
                </a:lnTo>
                <a:cubicBezTo>
                  <a:pt x="2945" y="4499"/>
                  <a:pt x="6462" y="982"/>
                  <a:pt x="10800" y="982"/>
                </a:cubicBezTo>
                <a:cubicBezTo>
                  <a:pt x="15138" y="982"/>
                  <a:pt x="18655" y="4499"/>
                  <a:pt x="18655" y="8836"/>
                </a:cubicBezTo>
                <a:lnTo>
                  <a:pt x="18655" y="12282"/>
                </a:lnTo>
                <a:cubicBezTo>
                  <a:pt x="18244" y="11971"/>
                  <a:pt x="17736" y="11782"/>
                  <a:pt x="17182" y="11782"/>
                </a:cubicBezTo>
                <a:cubicBezTo>
                  <a:pt x="15826" y="11782"/>
                  <a:pt x="14727" y="12881"/>
                  <a:pt x="14727" y="14236"/>
                </a:cubicBezTo>
                <a:lnTo>
                  <a:pt x="14727" y="19145"/>
                </a:lnTo>
                <a:cubicBezTo>
                  <a:pt x="14727" y="20501"/>
                  <a:pt x="15826" y="21600"/>
                  <a:pt x="17182" y="21600"/>
                </a:cubicBezTo>
                <a:cubicBezTo>
                  <a:pt x="18369" y="21600"/>
                  <a:pt x="19360" y="20757"/>
                  <a:pt x="19587" y="19636"/>
                </a:cubicBezTo>
                <a:lnTo>
                  <a:pt x="19636" y="19636"/>
                </a:lnTo>
                <a:cubicBezTo>
                  <a:pt x="20721" y="19636"/>
                  <a:pt x="21600" y="18757"/>
                  <a:pt x="21600" y="17673"/>
                </a:cubicBezTo>
                <a:lnTo>
                  <a:pt x="21600" y="15709"/>
                </a:lnTo>
                <a:cubicBezTo>
                  <a:pt x="21600" y="14625"/>
                  <a:pt x="20721" y="13745"/>
                  <a:pt x="19636" y="13745"/>
                </a:cubicBezTo>
              </a:path>
            </a:pathLst>
          </a:custGeom>
          <a:solidFill>
            <a:srgbClr val="D00000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8" name="Shape 2645">
            <a:extLst>
              <a:ext uri="{FF2B5EF4-FFF2-40B4-BE49-F238E27FC236}">
                <a16:creationId xmlns:a16="http://schemas.microsoft.com/office/drawing/2014/main" id="{645D1BEC-2663-4B2C-816E-24842410D9BC}"/>
              </a:ext>
            </a:extLst>
          </p:cNvPr>
          <p:cNvSpPr/>
          <p:nvPr/>
        </p:nvSpPr>
        <p:spPr>
          <a:xfrm>
            <a:off x="1864240" y="3450177"/>
            <a:ext cx="351987" cy="2559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08" y="20250"/>
                </a:moveTo>
                <a:lnTo>
                  <a:pt x="2740" y="17504"/>
                </a:lnTo>
                <a:cubicBezTo>
                  <a:pt x="2807" y="17526"/>
                  <a:pt x="2874" y="17550"/>
                  <a:pt x="2945" y="17550"/>
                </a:cubicBezTo>
                <a:lnTo>
                  <a:pt x="18655" y="17550"/>
                </a:lnTo>
                <a:cubicBezTo>
                  <a:pt x="18726" y="17550"/>
                  <a:pt x="18793" y="17526"/>
                  <a:pt x="18860" y="17504"/>
                </a:cubicBezTo>
                <a:lnTo>
                  <a:pt x="20192" y="20250"/>
                </a:lnTo>
                <a:cubicBezTo>
                  <a:pt x="20192" y="20250"/>
                  <a:pt x="1408" y="20250"/>
                  <a:pt x="1408" y="20250"/>
                </a:cubicBezTo>
                <a:close/>
                <a:moveTo>
                  <a:pt x="2945" y="1350"/>
                </a:moveTo>
                <a:lnTo>
                  <a:pt x="18655" y="1350"/>
                </a:lnTo>
                <a:lnTo>
                  <a:pt x="18655" y="16200"/>
                </a:lnTo>
                <a:lnTo>
                  <a:pt x="2945" y="16200"/>
                </a:lnTo>
                <a:cubicBezTo>
                  <a:pt x="2945" y="16200"/>
                  <a:pt x="2945" y="1350"/>
                  <a:pt x="2945" y="1350"/>
                </a:cubicBezTo>
                <a:close/>
                <a:moveTo>
                  <a:pt x="21510" y="20558"/>
                </a:moveTo>
                <a:lnTo>
                  <a:pt x="21518" y="20551"/>
                </a:lnTo>
                <a:lnTo>
                  <a:pt x="19591" y="16577"/>
                </a:lnTo>
                <a:cubicBezTo>
                  <a:pt x="19617" y="16457"/>
                  <a:pt x="19636" y="16332"/>
                  <a:pt x="19636" y="16200"/>
                </a:cubicBezTo>
                <a:lnTo>
                  <a:pt x="19636" y="1350"/>
                </a:lnTo>
                <a:cubicBezTo>
                  <a:pt x="19636" y="605"/>
                  <a:pt x="19197" y="0"/>
                  <a:pt x="18655" y="0"/>
                </a:cubicBezTo>
                <a:lnTo>
                  <a:pt x="2945" y="0"/>
                </a:lnTo>
                <a:cubicBezTo>
                  <a:pt x="2403" y="0"/>
                  <a:pt x="1964" y="605"/>
                  <a:pt x="1964" y="1350"/>
                </a:cubicBezTo>
                <a:lnTo>
                  <a:pt x="1964" y="16200"/>
                </a:lnTo>
                <a:cubicBezTo>
                  <a:pt x="1964" y="16332"/>
                  <a:pt x="1983" y="16457"/>
                  <a:pt x="2009" y="16577"/>
                </a:cubicBezTo>
                <a:lnTo>
                  <a:pt x="82" y="20551"/>
                </a:lnTo>
                <a:lnTo>
                  <a:pt x="90" y="20558"/>
                </a:lnTo>
                <a:cubicBezTo>
                  <a:pt x="38" y="20665"/>
                  <a:pt x="0" y="20787"/>
                  <a:pt x="0" y="20925"/>
                </a:cubicBezTo>
                <a:cubicBezTo>
                  <a:pt x="0" y="21298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298"/>
                  <a:pt x="21600" y="20925"/>
                </a:cubicBezTo>
                <a:cubicBezTo>
                  <a:pt x="21600" y="20787"/>
                  <a:pt x="21562" y="20665"/>
                  <a:pt x="21510" y="20558"/>
                </a:cubicBezTo>
              </a:path>
            </a:pathLst>
          </a:custGeom>
          <a:solidFill>
            <a:srgbClr val="F57B26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9" name="Rectangle 23">
            <a:extLst>
              <a:ext uri="{FF2B5EF4-FFF2-40B4-BE49-F238E27FC236}">
                <a16:creationId xmlns:a16="http://schemas.microsoft.com/office/drawing/2014/main" id="{52D58BA0-2845-425F-880D-1F79D544EE6F}"/>
              </a:ext>
            </a:extLst>
          </p:cNvPr>
          <p:cNvSpPr/>
          <p:nvPr/>
        </p:nvSpPr>
        <p:spPr>
          <a:xfrm>
            <a:off x="2323320" y="3276515"/>
            <a:ext cx="3362035" cy="6052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</a:p>
        </p:txBody>
      </p:sp>
      <p:sp>
        <p:nvSpPr>
          <p:cNvPr id="20" name="Rectangle 23">
            <a:extLst>
              <a:ext uri="{FF2B5EF4-FFF2-40B4-BE49-F238E27FC236}">
                <a16:creationId xmlns:a16="http://schemas.microsoft.com/office/drawing/2014/main" id="{BA945A8A-1A20-4BC9-B003-E1E4012C41B8}"/>
              </a:ext>
            </a:extLst>
          </p:cNvPr>
          <p:cNvSpPr/>
          <p:nvPr/>
        </p:nvSpPr>
        <p:spPr>
          <a:xfrm>
            <a:off x="2323320" y="4290757"/>
            <a:ext cx="3362035" cy="6052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</a:p>
        </p:txBody>
      </p:sp>
      <p:sp>
        <p:nvSpPr>
          <p:cNvPr id="21" name="Shape 2783">
            <a:extLst>
              <a:ext uri="{FF2B5EF4-FFF2-40B4-BE49-F238E27FC236}">
                <a16:creationId xmlns:a16="http://schemas.microsoft.com/office/drawing/2014/main" id="{D50F7CA1-686F-40F6-A61F-AED6A61066EF}"/>
              </a:ext>
            </a:extLst>
          </p:cNvPr>
          <p:cNvSpPr/>
          <p:nvPr/>
        </p:nvSpPr>
        <p:spPr>
          <a:xfrm>
            <a:off x="1895461" y="2447176"/>
            <a:ext cx="362452" cy="3130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5855"/>
                </a:moveTo>
                <a:lnTo>
                  <a:pt x="1633" y="10800"/>
                </a:lnTo>
                <a:lnTo>
                  <a:pt x="4615" y="9156"/>
                </a:lnTo>
                <a:lnTo>
                  <a:pt x="10589" y="12450"/>
                </a:lnTo>
                <a:lnTo>
                  <a:pt x="10591" y="12446"/>
                </a:lnTo>
                <a:cubicBezTo>
                  <a:pt x="10654" y="12482"/>
                  <a:pt x="10724" y="12505"/>
                  <a:pt x="10800" y="12505"/>
                </a:cubicBezTo>
                <a:cubicBezTo>
                  <a:pt x="10876" y="12505"/>
                  <a:pt x="10946" y="12482"/>
                  <a:pt x="11009" y="12446"/>
                </a:cubicBezTo>
                <a:lnTo>
                  <a:pt x="11011" y="12450"/>
                </a:lnTo>
                <a:lnTo>
                  <a:pt x="16985" y="9156"/>
                </a:lnTo>
                <a:lnTo>
                  <a:pt x="19967" y="10800"/>
                </a:lnTo>
                <a:cubicBezTo>
                  <a:pt x="19967" y="10800"/>
                  <a:pt x="10800" y="15855"/>
                  <a:pt x="10800" y="15855"/>
                </a:cubicBezTo>
                <a:close/>
                <a:moveTo>
                  <a:pt x="19967" y="15347"/>
                </a:moveTo>
                <a:lnTo>
                  <a:pt x="10800" y="20402"/>
                </a:lnTo>
                <a:lnTo>
                  <a:pt x="1633" y="15347"/>
                </a:lnTo>
                <a:lnTo>
                  <a:pt x="4615" y="13703"/>
                </a:lnTo>
                <a:lnTo>
                  <a:pt x="10589" y="16997"/>
                </a:lnTo>
                <a:lnTo>
                  <a:pt x="10591" y="16994"/>
                </a:lnTo>
                <a:cubicBezTo>
                  <a:pt x="10654" y="17029"/>
                  <a:pt x="10724" y="17053"/>
                  <a:pt x="10800" y="17053"/>
                </a:cubicBezTo>
                <a:cubicBezTo>
                  <a:pt x="10876" y="17053"/>
                  <a:pt x="10946" y="17029"/>
                  <a:pt x="11009" y="16994"/>
                </a:cubicBezTo>
                <a:lnTo>
                  <a:pt x="11011" y="16997"/>
                </a:lnTo>
                <a:lnTo>
                  <a:pt x="16985" y="13703"/>
                </a:lnTo>
                <a:cubicBezTo>
                  <a:pt x="16985" y="13703"/>
                  <a:pt x="19967" y="15347"/>
                  <a:pt x="19967" y="15347"/>
                </a:cubicBezTo>
                <a:close/>
                <a:moveTo>
                  <a:pt x="1633" y="6253"/>
                </a:moveTo>
                <a:lnTo>
                  <a:pt x="10800" y="1198"/>
                </a:lnTo>
                <a:lnTo>
                  <a:pt x="19967" y="6253"/>
                </a:lnTo>
                <a:lnTo>
                  <a:pt x="10800" y="11307"/>
                </a:lnTo>
                <a:cubicBezTo>
                  <a:pt x="10800" y="11307"/>
                  <a:pt x="1633" y="6253"/>
                  <a:pt x="1633" y="6253"/>
                </a:cubicBezTo>
                <a:close/>
                <a:moveTo>
                  <a:pt x="21600" y="10800"/>
                </a:moveTo>
                <a:cubicBezTo>
                  <a:pt x="21600" y="10574"/>
                  <a:pt x="21484" y="10383"/>
                  <a:pt x="21319" y="10290"/>
                </a:cubicBezTo>
                <a:lnTo>
                  <a:pt x="21320" y="10287"/>
                </a:lnTo>
                <a:lnTo>
                  <a:pt x="18127" y="8526"/>
                </a:lnTo>
                <a:lnTo>
                  <a:pt x="21320" y="6766"/>
                </a:lnTo>
                <a:lnTo>
                  <a:pt x="21319" y="6762"/>
                </a:lnTo>
                <a:cubicBezTo>
                  <a:pt x="21484" y="6671"/>
                  <a:pt x="21600" y="6479"/>
                  <a:pt x="21600" y="6253"/>
                </a:cubicBezTo>
                <a:cubicBezTo>
                  <a:pt x="21600" y="6027"/>
                  <a:pt x="21484" y="5835"/>
                  <a:pt x="21319" y="5743"/>
                </a:cubicBezTo>
                <a:lnTo>
                  <a:pt x="21320" y="5740"/>
                </a:lnTo>
                <a:lnTo>
                  <a:pt x="11011" y="56"/>
                </a:lnTo>
                <a:lnTo>
                  <a:pt x="11009" y="59"/>
                </a:lnTo>
                <a:cubicBezTo>
                  <a:pt x="10946" y="23"/>
                  <a:pt x="10876" y="0"/>
                  <a:pt x="10800" y="0"/>
                </a:cubicBezTo>
                <a:cubicBezTo>
                  <a:pt x="10724" y="0"/>
                  <a:pt x="10654" y="23"/>
                  <a:pt x="10591" y="59"/>
                </a:cubicBezTo>
                <a:lnTo>
                  <a:pt x="10589" y="56"/>
                </a:lnTo>
                <a:lnTo>
                  <a:pt x="280" y="5740"/>
                </a:lnTo>
                <a:lnTo>
                  <a:pt x="281" y="5743"/>
                </a:lnTo>
                <a:cubicBezTo>
                  <a:pt x="116" y="5835"/>
                  <a:pt x="0" y="6027"/>
                  <a:pt x="0" y="6253"/>
                </a:cubicBezTo>
                <a:cubicBezTo>
                  <a:pt x="0" y="6479"/>
                  <a:pt x="116" y="6671"/>
                  <a:pt x="281" y="6762"/>
                </a:cubicBezTo>
                <a:lnTo>
                  <a:pt x="280" y="6766"/>
                </a:lnTo>
                <a:lnTo>
                  <a:pt x="3473" y="8526"/>
                </a:lnTo>
                <a:lnTo>
                  <a:pt x="280" y="10287"/>
                </a:lnTo>
                <a:lnTo>
                  <a:pt x="281" y="10290"/>
                </a:lnTo>
                <a:cubicBezTo>
                  <a:pt x="116" y="10383"/>
                  <a:pt x="0" y="10574"/>
                  <a:pt x="0" y="10800"/>
                </a:cubicBezTo>
                <a:cubicBezTo>
                  <a:pt x="0" y="11026"/>
                  <a:pt x="116" y="11218"/>
                  <a:pt x="281" y="11310"/>
                </a:cubicBezTo>
                <a:lnTo>
                  <a:pt x="280" y="11313"/>
                </a:lnTo>
                <a:lnTo>
                  <a:pt x="3473" y="13074"/>
                </a:lnTo>
                <a:lnTo>
                  <a:pt x="280" y="14834"/>
                </a:lnTo>
                <a:lnTo>
                  <a:pt x="281" y="14838"/>
                </a:lnTo>
                <a:cubicBezTo>
                  <a:pt x="116" y="14930"/>
                  <a:pt x="0" y="15121"/>
                  <a:pt x="0" y="15347"/>
                </a:cubicBezTo>
                <a:cubicBezTo>
                  <a:pt x="0" y="15574"/>
                  <a:pt x="116" y="15765"/>
                  <a:pt x="281" y="15857"/>
                </a:cubicBezTo>
                <a:lnTo>
                  <a:pt x="280" y="15860"/>
                </a:lnTo>
                <a:lnTo>
                  <a:pt x="10589" y="21544"/>
                </a:lnTo>
                <a:lnTo>
                  <a:pt x="10591" y="21541"/>
                </a:lnTo>
                <a:cubicBezTo>
                  <a:pt x="10654" y="21577"/>
                  <a:pt x="10724" y="21600"/>
                  <a:pt x="10800" y="21600"/>
                </a:cubicBezTo>
                <a:cubicBezTo>
                  <a:pt x="10876" y="21600"/>
                  <a:pt x="10946" y="21577"/>
                  <a:pt x="11009" y="21541"/>
                </a:cubicBezTo>
                <a:lnTo>
                  <a:pt x="11011" y="21544"/>
                </a:lnTo>
                <a:lnTo>
                  <a:pt x="21320" y="15860"/>
                </a:lnTo>
                <a:lnTo>
                  <a:pt x="21319" y="15857"/>
                </a:lnTo>
                <a:cubicBezTo>
                  <a:pt x="21484" y="15765"/>
                  <a:pt x="21600" y="15574"/>
                  <a:pt x="21600" y="15347"/>
                </a:cubicBezTo>
                <a:cubicBezTo>
                  <a:pt x="21600" y="15121"/>
                  <a:pt x="21484" y="14930"/>
                  <a:pt x="21319" y="14838"/>
                </a:cubicBezTo>
                <a:lnTo>
                  <a:pt x="21320" y="14834"/>
                </a:lnTo>
                <a:lnTo>
                  <a:pt x="18127" y="13074"/>
                </a:lnTo>
                <a:lnTo>
                  <a:pt x="21320" y="11313"/>
                </a:lnTo>
                <a:lnTo>
                  <a:pt x="21319" y="11310"/>
                </a:lnTo>
                <a:cubicBezTo>
                  <a:pt x="21484" y="11218"/>
                  <a:pt x="21600" y="11026"/>
                  <a:pt x="21600" y="10800"/>
                </a:cubicBezTo>
              </a:path>
            </a:pathLst>
          </a:custGeom>
          <a:solidFill>
            <a:srgbClr val="6FCEFE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22" name="Rectangle 23">
            <a:extLst>
              <a:ext uri="{FF2B5EF4-FFF2-40B4-BE49-F238E27FC236}">
                <a16:creationId xmlns:a16="http://schemas.microsoft.com/office/drawing/2014/main" id="{3ADDE605-19F4-495C-9F8E-6D9BE1C6E0B0}"/>
              </a:ext>
            </a:extLst>
          </p:cNvPr>
          <p:cNvSpPr/>
          <p:nvPr/>
        </p:nvSpPr>
        <p:spPr>
          <a:xfrm>
            <a:off x="2323319" y="2315980"/>
            <a:ext cx="3362035" cy="6052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</a:p>
        </p:txBody>
      </p:sp>
      <p:sp>
        <p:nvSpPr>
          <p:cNvPr id="23" name="Rectangle 70">
            <a:extLst>
              <a:ext uri="{FF2B5EF4-FFF2-40B4-BE49-F238E27FC236}">
                <a16:creationId xmlns:a16="http://schemas.microsoft.com/office/drawing/2014/main" id="{043CABC8-1D16-4840-835B-72A93D4539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5053" y="1555294"/>
            <a:ext cx="249381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9128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rgbClr val="595959"/>
                </a:solidFill>
                <a:latin typeface="Calibri Light" panose="020F0302020204030204" pitchFamily="34" charset="0"/>
                <a:cs typeface="Roboto Light" pitchFamily="2" charset="0"/>
              </a:defRPr>
            </a:lvl1pPr>
            <a:lvl2pPr marL="742950" indent="-28575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rgbClr val="595959"/>
                </a:solidFill>
                <a:latin typeface="Calibri Light" panose="020F0302020204030204" pitchFamily="34" charset="0"/>
                <a:cs typeface="Roboto Light" pitchFamily="2" charset="0"/>
              </a:defRPr>
            </a:lvl2pPr>
            <a:lvl3pPr marL="11430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rgbClr val="595959"/>
                </a:solidFill>
                <a:latin typeface="Calibri Light" panose="020F0302020204030204" pitchFamily="34" charset="0"/>
                <a:cs typeface="Roboto Light" pitchFamily="2" charset="0"/>
              </a:defRPr>
            </a:lvl3pPr>
            <a:lvl4pPr marL="16002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rgbClr val="595959"/>
                </a:solidFill>
                <a:latin typeface="Calibri Light" panose="020F0302020204030204" pitchFamily="34" charset="0"/>
                <a:cs typeface="Roboto Light" pitchFamily="2" charset="0"/>
              </a:defRPr>
            </a:lvl4pPr>
            <a:lvl5pPr marL="20574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rgbClr val="595959"/>
                </a:solidFill>
                <a:latin typeface="Calibri Light" panose="020F0302020204030204" pitchFamily="34" charset="0"/>
                <a:cs typeface="Roboto Light" pitchFamily="2" charset="0"/>
              </a:defRPr>
            </a:lvl5pPr>
            <a:lvl6pPr marL="25146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rgbClr val="595959"/>
                </a:solidFill>
                <a:latin typeface="Calibri Light" panose="020F0302020204030204" pitchFamily="34" charset="0"/>
                <a:cs typeface="Roboto Light" pitchFamily="2" charset="0"/>
              </a:defRPr>
            </a:lvl6pPr>
            <a:lvl7pPr marL="29718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rgbClr val="595959"/>
                </a:solidFill>
                <a:latin typeface="Calibri Light" panose="020F0302020204030204" pitchFamily="34" charset="0"/>
                <a:cs typeface="Roboto Light" pitchFamily="2" charset="0"/>
              </a:defRPr>
            </a:lvl7pPr>
            <a:lvl8pPr marL="34290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rgbClr val="595959"/>
                </a:solidFill>
                <a:latin typeface="Calibri Light" panose="020F0302020204030204" pitchFamily="34" charset="0"/>
                <a:cs typeface="Roboto Light" pitchFamily="2" charset="0"/>
              </a:defRPr>
            </a:lvl8pPr>
            <a:lvl9pPr marL="38862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rgbClr val="595959"/>
                </a:solidFill>
                <a:latin typeface="Calibri Light" panose="020F0302020204030204" pitchFamily="34" charset="0"/>
                <a:cs typeface="Roboto Light" pitchFamily="2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16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ea"/>
                <a:sym typeface="+mn-lt"/>
              </a:rPr>
              <a:t>输入标题</a:t>
            </a:r>
            <a:endParaRPr lang="en-US" altLang="zh-CN" sz="1600" b="1" noProof="1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F00A4D0-17A6-4616-A578-D807D89E527F}"/>
              </a:ext>
            </a:extLst>
          </p:cNvPr>
          <p:cNvSpPr/>
          <p:nvPr/>
        </p:nvSpPr>
        <p:spPr>
          <a:xfrm>
            <a:off x="7005055" y="1874282"/>
            <a:ext cx="3362035" cy="6052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</a:p>
        </p:txBody>
      </p:sp>
    </p:spTree>
    <p:extLst>
      <p:ext uri="{BB962C8B-B14F-4D97-AF65-F5344CB8AC3E}">
        <p14:creationId xmlns:p14="http://schemas.microsoft.com/office/powerpoint/2010/main" val="803274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 advClick="0" advTm="0">
        <p14:prism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 tmFilter="0,0; .5, 1; 1, 1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650"/>
                            </p:stCondLst>
                            <p:childTnLst>
                              <p:par>
                                <p:cTn id="2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300"/>
                            </p:stCondLst>
                            <p:childTnLst>
                              <p:par>
                                <p:cTn id="27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800"/>
                            </p:stCondLst>
                            <p:childTnLst>
                              <p:par>
                                <p:cTn id="3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300"/>
                            </p:stCondLst>
                            <p:childTnLst>
                              <p:par>
                                <p:cTn id="40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800"/>
                            </p:stCondLst>
                            <p:childTnLst>
                              <p:par>
                                <p:cTn id="4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300"/>
                            </p:stCondLst>
                            <p:childTnLst>
                              <p:par>
                                <p:cTn id="53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4800"/>
                            </p:stCondLst>
                            <p:childTnLst>
                              <p:par>
                                <p:cTn id="6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5300"/>
                            </p:stCondLst>
                            <p:childTnLst>
                              <p:par>
                                <p:cTn id="66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5800"/>
                            </p:stCondLst>
                            <p:childTnLst>
                              <p:par>
                                <p:cTn id="7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6300"/>
                            </p:stCondLst>
                            <p:childTnLst>
                              <p:par>
                                <p:cTn id="7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Graphic spid="6" grpId="0">
        <p:bldAsOne/>
      </p:bldGraphic>
      <p:bldP spid="10" grpId="0"/>
      <p:bldP spid="17" grpId="0" animBg="1"/>
      <p:bldP spid="18" grpId="0" animBg="1"/>
      <p:bldP spid="19" grpId="0"/>
      <p:bldP spid="20" grpId="0"/>
      <p:bldP spid="21" grpId="0" animBg="1"/>
      <p:bldP spid="22" grpId="0"/>
      <p:bldP spid="23" grpId="0"/>
      <p:bldP spid="2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C6002DE4-0B35-4ACB-96DD-668FCFEE0D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4294"/>
            <a:ext cx="12202211" cy="6858000"/>
          </a:xfrm>
          <a:prstGeom prst="rect">
            <a:avLst/>
          </a:prstGeom>
          <a:ln>
            <a:noFill/>
          </a:ln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0B31D1B4-30DB-4C87-A153-EF6EA5C3DE6E}"/>
              </a:ext>
            </a:extLst>
          </p:cNvPr>
          <p:cNvSpPr/>
          <p:nvPr/>
        </p:nvSpPr>
        <p:spPr>
          <a:xfrm>
            <a:off x="2255573" y="1374674"/>
            <a:ext cx="8352928" cy="4224469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  <a:effectLst>
            <a:outerShdw blurRad="152400" dist="762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cs typeface="+mn-ea"/>
              <a:sym typeface="+mn-lt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0DFD6F58-1456-4565-A7FA-4889094FD26C}"/>
              </a:ext>
            </a:extLst>
          </p:cNvPr>
          <p:cNvSpPr/>
          <p:nvPr/>
        </p:nvSpPr>
        <p:spPr>
          <a:xfrm>
            <a:off x="1679509" y="1374673"/>
            <a:ext cx="7488832" cy="345638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77800" sx="103000" sy="103000" algn="ctr" rotWithShape="0">
              <a:prstClr val="black">
                <a:alpha val="3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DDC0E3D9-958C-4060-B1A9-C07ADD40EEA3}"/>
              </a:ext>
            </a:extLst>
          </p:cNvPr>
          <p:cNvSpPr/>
          <p:nvPr/>
        </p:nvSpPr>
        <p:spPr>
          <a:xfrm>
            <a:off x="7655562" y="605813"/>
            <a:ext cx="2210519" cy="2210518"/>
          </a:xfrm>
          <a:prstGeom prst="rect">
            <a:avLst/>
          </a:prstGeom>
          <a:solidFill>
            <a:srgbClr val="D00000"/>
          </a:solidFill>
          <a:ln>
            <a:noFill/>
          </a:ln>
          <a:effectLst>
            <a:outerShdw blurRad="114300" dist="38100" dir="2700000" sx="101000" sy="101000" algn="tl" rotWithShape="0">
              <a:prstClr val="black">
                <a:alpha val="3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241CF7B9-B014-49C9-96C0-4A630E09C08D}"/>
              </a:ext>
            </a:extLst>
          </p:cNvPr>
          <p:cNvSpPr/>
          <p:nvPr/>
        </p:nvSpPr>
        <p:spPr>
          <a:xfrm>
            <a:off x="1980688" y="3429000"/>
            <a:ext cx="3299221" cy="1384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933" dirty="0">
                <a:solidFill>
                  <a:schemeClr val="bg1"/>
                </a:solidFill>
                <a:cs typeface="+mn-ea"/>
                <a:sym typeface="+mn-lt"/>
              </a:rPr>
              <a:t>OF THIS SCHEME, WE THANK YOU FOR YOUR READING, THE PROPOSAL IS IN WE UNDERSTAND YOUR COMPANY FOR THE RELEVANT REQUIREMENTS, AND PROPOSAL INFORMATION, THIS PAPER DISCUSSES THE SPECIFIC REQUIREMENTS</a:t>
            </a:r>
          </a:p>
        </p:txBody>
      </p:sp>
      <p:sp>
        <p:nvSpPr>
          <p:cNvPr id="18" name="TextBox 18">
            <a:extLst>
              <a:ext uri="{FF2B5EF4-FFF2-40B4-BE49-F238E27FC236}">
                <a16:creationId xmlns:a16="http://schemas.microsoft.com/office/drawing/2014/main" id="{CEE4B56E-805F-42BD-B0BA-A50E9420F11C}"/>
              </a:ext>
            </a:extLst>
          </p:cNvPr>
          <p:cNvSpPr txBox="1"/>
          <p:nvPr/>
        </p:nvSpPr>
        <p:spPr>
          <a:xfrm>
            <a:off x="8122816" y="987799"/>
            <a:ext cx="13399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8000" spc="400">
                <a:solidFill>
                  <a:schemeClr val="bg1"/>
                </a:solidFill>
                <a:latin typeface="Agency FB" panose="020B0503020202020204" pitchFamily="34" charset="0"/>
                <a:cs typeface="+mn-ea"/>
              </a:defRPr>
            </a:lvl1pPr>
          </a:lstStyle>
          <a:p>
            <a:r>
              <a:rPr lang="en-US" altLang="zh-CN" dirty="0">
                <a:sym typeface="+mn-lt"/>
              </a:rPr>
              <a:t>02</a:t>
            </a:r>
            <a:endParaRPr lang="zh-CN" altLang="en-US" dirty="0">
              <a:sym typeface="+mn-lt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23FC91EC-A33E-474B-8946-3468139A7936}"/>
              </a:ext>
            </a:extLst>
          </p:cNvPr>
          <p:cNvSpPr txBox="1"/>
          <p:nvPr/>
        </p:nvSpPr>
        <p:spPr>
          <a:xfrm>
            <a:off x="3397410" y="2198027"/>
            <a:ext cx="3418215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800" spc="600" dirty="0">
                <a:solidFill>
                  <a:srgbClr val="D00000"/>
                </a:solidFill>
                <a:latin typeface="+mn-lt"/>
                <a:ea typeface="+mn-ea"/>
                <a:cs typeface="+mn-ea"/>
                <a:sym typeface="+mn-lt"/>
              </a:rPr>
              <a:t>教学设计</a:t>
            </a: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8E8B6E05-31A9-41F9-80B0-911FDFB1F350}"/>
              </a:ext>
            </a:extLst>
          </p:cNvPr>
          <p:cNvSpPr/>
          <p:nvPr/>
        </p:nvSpPr>
        <p:spPr>
          <a:xfrm>
            <a:off x="2772230" y="3515783"/>
            <a:ext cx="4686031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zh-CN" altLang="en-US" sz="1050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rPr>
              <a:t>请在此处输入具体描述内容，文字尽量言简意赅，说明意思即可，不必过于繁琐，注意版面的美观度。</a:t>
            </a: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98B2FC46-A089-4BDC-97CB-94226A8A2FE2}"/>
              </a:ext>
            </a:extLst>
          </p:cNvPr>
          <p:cNvSpPr/>
          <p:nvPr/>
        </p:nvSpPr>
        <p:spPr>
          <a:xfrm>
            <a:off x="2284601" y="2825874"/>
            <a:ext cx="5477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INSTRUCTIONAL DESIGN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71240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 advClick="0">
        <p14:doors dir="vert"/>
      </p:transition>
    </mc:Choice>
    <mc:Fallback xmlns="">
      <p:transition spd="slow" advClick="0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afterEffect" p14:presetBounceEnd="64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4000">
                                          <p:cBhvr additive="base">
                                            <p:cTn id="7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4000">
                                          <p:cBhvr additive="base">
                                            <p:cTn id="8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4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2000">
                                          <p:cBhvr additive="base">
                                            <p:cTn id="11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2000">
                                          <p:cBhvr additive="base">
                                            <p:cTn id="12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15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16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1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22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4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5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6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28" presetID="4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0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1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4" dur="500" tmFilter="0,0; .5, 1; 1, 1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5" fill="hold">
                                <p:stCondLst>
                                  <p:cond delay="4150"/>
                                </p:stCondLst>
                                <p:childTnLst>
                                  <p:par>
                                    <p:cTn id="36" presetID="16" presetClass="entr" presetSubtype="37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38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4650"/>
                                </p:stCondLst>
                                <p:childTnLst>
                                  <p:par>
                                    <p:cTn id="40" presetID="37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10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43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4" dur="900" decel="100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5" dur="100" accel="100000" fill="hold">
                                              <p:stCondLst>
                                                <p:cond delay="90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 animBg="1"/>
          <p:bldP spid="7" grpId="0" animBg="1"/>
          <p:bldP spid="13" grpId="0"/>
          <p:bldP spid="18" grpId="0"/>
          <p:bldP spid="19" grpId="0"/>
          <p:bldP spid="21" grpId="0"/>
          <p:bldP spid="23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1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22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4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5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6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28" presetID="4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0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1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4" dur="500" tmFilter="0,0; .5, 1; 1, 1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5" fill="hold">
                                <p:stCondLst>
                                  <p:cond delay="4150"/>
                                </p:stCondLst>
                                <p:childTnLst>
                                  <p:par>
                                    <p:cTn id="36" presetID="16" presetClass="entr" presetSubtype="37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38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4650"/>
                                </p:stCondLst>
                                <p:childTnLst>
                                  <p:par>
                                    <p:cTn id="40" presetID="37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10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43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4" dur="900" decel="100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5" dur="100" accel="100000" fill="hold">
                                              <p:stCondLst>
                                                <p:cond delay="90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 animBg="1"/>
          <p:bldP spid="7" grpId="0" animBg="1"/>
          <p:bldP spid="13" grpId="0"/>
          <p:bldP spid="18" grpId="0"/>
          <p:bldP spid="19" grpId="0"/>
          <p:bldP spid="21" grpId="0"/>
          <p:bldP spid="23" grpId="0"/>
        </p:bldLst>
      </p:timing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ULTRA_SCORM_COURSE_ID" val="3BE8E91B-7BE9-435D-97BA-259945A18F8C"/>
  <p:tag name="ISPRING_SCORM_RATE_SLIDES" val="1"/>
  <p:tag name="ISPRINGONLINEFOLDERID" val="0"/>
  <p:tag name="ISPRINGONLINEFOLDERPATH" val="Content List"/>
  <p:tag name="ISPRINGCLOUDFOLDERID" val="0"/>
  <p:tag name="ISPRINGCLOUDFOLDERPATH" val="Repository"/>
  <p:tag name="ISPRING_PLAYERS_CUSTOMIZATION" val="UEsDBBQAAgAIAESUV0cjtE77+wIAALAIAAAUAAAAdW5pdmVyc2FsL3BsYXllci54bWytVd9P2zAQfi7S/ofI79gtHQOqBMSQ0B7GhNSx7a0yiZt4TeLMdgjlr9/Zzu+lbEh7aJWc7/vufPfdxb96zlLviUnFRR6gBZ4jj+WhiHgeB+jh6+3xObq6fHfkFyndM+nxKEBlzg2ApsiLmAolLzSA76lOAtQzYGBGXiG5kFzvgfsUuNtIJ0v07mgGLrkKUKJ1sSKkqirMFSDyWIm0NCQKhyIjhWSK5ZpJ4tJAXoNd6b+j4ZeJnOh9wVQPWei3B65JWo5nxQck1RILGZOT+XxBftx9XocJy+gxz5WmeciQB5Wc2VI+0nB3J6IyZcrYZr5Lcs20NklY28zXK744zz0lwwA5h03GlKIxUzjNY0QclkyA/W1KVVLzqAGt4VU7XvNav4153zRutnOkcy7Kx5SrBI76kM46CfTJMKqf2etaBT00Cro1TMiT7FfJJYvs67dWjPMFcgFbxdk8sapCOICnWxpqIfc3AAMV1R3EbdOwaxq2oJYDt9HXHQVqbrtlVJeSNaWa+U88YuILlZIaWVxqWTKfjIw1lgzBPnFXrpvUNcRPdJae/kNvjN+oNT/Va52xgP/RmE9A1NaE5xF7vuXgo1kGNdUMim1sWBcpNjG7nFT5mPV0PTC5HOumwEU8TWXMYAwjqinp7OQQlEmqwCUs5QjbOzgITnicpPDTkwzj04M0GZW7SYbewUFwKsLdBLQ1t2Uk4zqOxNQqyCcT68QPS6VFxl+sPAd7Rq+sDl8buebouuDtwdn8j1EcxGgGc4smVpd56u2r5vDezKlWnc+mcJaBWmEemC4L59XMQlmMfCK2pWWqb/o5NfuwBx3lPDUd01zfQe+iWvMX5lU8Ml+6xdLUJGFGMwH6cL7sMUA/YbsMwlvToYhbkTd1wJjYN/dvK9ps+bp1ruuHOuxDDZ84qxzGzdRHUEcsRZlHox7iovuIqBR22rVk1EvZFm60OAGRiiJA7+GhvvPF6UV35bPFRYO1ed27wC6XN6z0OuFOQaTWdXsRv94N8PgbUEsDBBQAAgAIAHeM90qHb5M5aCsAALNWAAAXAAAAdW5pdmVyc2FsL3VuaXZlcnNhbC5wbmftfHlYU9farz32aAcErRYSgaSWVq2VxBglIJDUOtDWqVY9DgRSjCRYIRgQCJChHlvGQLRVoqJE5VhnEKIkQki0QLYaIEKrMSUQyS5EDBA3QxLIdBOwRXvaP+493/fce59PnocnyV7rXev3vusd91575X6+PmLaG7PfmDRp0rRPP1n5xaRJf8dNmjQ58bUpriuv3eif7Pp4JfmLiI8nlTX79bh+vEpdvm75pEkVvDdtMX93/X597yfbkydN8qxz/78CJJ7fNWnSPz75dOXyzYzovvZE3hXqdmdM9Ez01z4ftc47/iWZudOEJd8NSHhj5aw5h1d+cHT2vz77+ptZf3/d+63XTue9/jEm6NS0Vy4F1k96ZUbeJx9c++eg9WSd9G57jf6E6vhSrD7aEA3MC6mkUuzHlgqpZRRODcW49UTg6IiSwzb9+Cb6RLjTNqhnD3wvmOT+02DIl7jti02KWHRhMT0mley++PWKGaHdj5kam1rJLoqe4b706F59STqe5tA67aSMv493erum+0Nb8DL3j73xO1XMhg2c0Z+GPp5orHxzbA7Pk/TBSQ2EBOcNJQtVy+0btHq5rl71BbtfWUw7GSRzujvV3CiiD96aimTmbmA92SQ/9uFjmAjvHFHKGtNk1vah6si9x3hGCEASZA6V1HR9aKD4AWRFas8hR25HtCp0fT5RQTPNme0CEWOhYjB2txYIqWdpLmipbuxPymI1zK4PSemmUZXM0XCr83o5q099JVLUHKs69wBDs/cIHD0jr/kHRNtGb3mxn9oSNoRBKzPsoZ12I8d5fdoGqKIviaS1deOU5TXDdKyUWpfxtEAF9lnZRnlCubUCDTRtlY3e1/MSJOz79MG5CLRr2nv6X+RNwx9ND7izJ3rw+GBn/Ehqd7XrCsOnjuKRpxC1f1rj+V3Nw2GpbhlmiMJP6ZmNA63J4Z5yA/kjopS1FRfuXRiDrYlHyte5Rgum4YJoWbAN8ukzAvSXoocvDhqyYJ/Lh3WVDBaxyo/YYZaaay2m6crp/vwGg8IcWtL0Nhp4LclpNwtI8zoSJQkeODABrLLiq4qTzsmbGOEdCDSPus8xInCOjLTtvFwoalCsIOJpvvwCg7wc8rhN385sLhL5Kj0L2uqPLitZWi2JTy+Ggi9ZtxMeMKytA2xdF49jA9EdGyROp8PoZKsBH1VBG9c6zR9MVInh2kjDjGSmdqEWod0EGgjSDXLztjC5OJop4FnzSQCZpy0XOyysPEOh9XUw84MaASNzbhmuw/lFWGRYjfGqAV4p4TEWqlVu/du7jfYr0LrC4++YeO7yD6b82AWr8sODlZjVXGR+wa05NF80z9AQq9iYRERHe4IsQIH5J9cgt9dbC1UAOceMW93IQrSJ+9c9dsnYWMRVNk0/oLVsA+751G0meiMzuUzM3+Rd0B4iHpXPB1XiXpJzmKQk8figSUH9WB4LsuXWHFFDLMTQVdLb6U5oAGXGIgzi5tYBqa7Lsg2E5H3kq1yzS/QpRXXbiN4qf2Qa0duYSGTPdC05A6kwtliWSjvAPsg+M9E1hTVGg8ID9Db6dokf+TFDArLBwVkiX3N4NNKMlSJB8zs1gvxdIEVjHsgM7Sdr0iROsVENf8uMaT5wFcF4xWVhdfuugBSPv2H8vmFU/Qyrkb/zVsCPi8p8+cD56St+hPllwd7TZShEDQbMCbkCxAOxdDtmZ729wPCtuH1UqhvTg5+X0soaGMEldPjkjqQ4LoRG8SricpbHeXDoVhhfbhyZzgfa+KJ8q78zboMGEPeLBVCGxE+l7WIX8ZYKJeVdik6sYKQx/0CshBX2AyM95HwW5iJKm9q+DGiySP2Vh7kkcA+hQ4owyV+D66qgKiiJ6VVgaDDQBZBdaNuRY2xgWMW8Rc25vWzUW7w94TR5m/xqSP3B2eZaA3zxlFaxY3QPzK39RNwAuQezc6Hg7FJ5PmzOA90A7JD8ncXyQzBYEblrejmv7YrWODBKP9mVoCr3cjE3bCeeK6Mnhzy9ciUbwLwjbyvaCeMqyLMKXlncn8YthEzi9WFWOqsGVvnAGFDfx0fzAJiqptF+OdC4x14B9K2Q+CUizdeZ6TmiQCS47rEfjjzLT3sJ2sPEg31udX5Afs1PGwCFz0IDsWAmVUPNUYHsIiXDk94GEd4o0i1T24nv0YQOfKHoCoEEZtQNVDLCUS6Vshe2ycm5ACIxH6hGrB1bymQyR0/hvgrCN2GO1qcUlX4pCaNh2f6JvsrHb2DmFrZ9I1ZCVcPWKE+4YcZ7U44PY8Uu/heZ0uPBalzndKAJamzqStElv1VKCQOTNFslgWwZ6AC7YGHApGX1CbpKBbeYXyu43sW6QjDly5vEzmFtBVypIcr6qlMKi8EuCz5nOTqaJ+JBiSMLgekCo9gh7mCkw8y+usxYZonQKLMsy1UIrTduj1qX1bPKOU7Qlivqy8iqB2G8pYitxHkI50Cqa51udt6ooGOz/smwMkybPOYpDsWEpNbnXPXDy4VSOYvb+e7qbHE/g0RHkh/D+FFLaHJWfRe9FhqFJbuZGS7emwNSuDvoxdBI/nJsyWk4mcT9mq621GCBFHAZ3S6OJs5D5ZPA4Sh5E+Rxj9VPTRiBUCRPn4LiOVmN0FI/XsCUDnp7catLkVSZzJO8FnwH3sVv/EjtDDSQAA4iVPl8IDaGJQPZuuRqm8M9loVJNScfitcQtWZGOIKs4WjMlnB/Y1qYHGKAZCSPqgGCke6YVpcS6LI4T/K2bXm33plSyAhBIQkD8KIDMUTvFT+K40N+qL86q7ROHM+dBaaClWKWREZP1zgHquesPkQn0O3QUTMrHneWrMlTNsHewEL0csEHIQ7pHdhU4GkwagwXk7aCux/sw3gXmotreV1GNSwQiMs4Zt0eyZYYeOE0AiJRwkonQRkex0F7c4cy5bHFTmIrXY5Vgs+qZVgtiBw+oOIwywuMPQwmXQ1DZ3fZ5WJYOY8uHnVEapWrKo2GvS2s7Cce2/EdYiP9pNgxgB/jbV8gOFd1iazR7R2xT3VdeVjgCtpw0fpiLcfd3g7DeR2kG679VeMr7s/SXZpX3bG88Dv6TPdn8GdjoWvSo/nwv+pQbhngy5hTxnMIbrH78+bGxbS/ub9E3BG/7v70ex+cO9bh8H/Y4V73hXMlyzK7j1GbS1gmNfbTPOE7zd8E+1ZiyfKxjtcsd7dKk0y2QaW2ZMl7PfwG9XTqytTUzWPDfpSPdDzNFlE9Ps1Ip6/eRY1oGKc5+K/tavVGzNiMge/t/sfv/d/89PiRk/5vj0/98XeU2Jck/2+Q+EcQRlt4zYj0Xw8Jrf01Rk17mpaVqopK8z/MWAtCDeQC4HLC4YlRs0ncb8ya5A3L5iMqGY1Tml9o0072CjtYmA28g6gplPX2nh+zha+9l9k8oYh7aW/zWAIEa6ilDd0z/W5zYd6Y3sedrkP7TuPdic2PSRa09XQ/35AY7o0oVizJalJ0rMdFPoeZrTi99wPHqoF5JQyd6Xo/cQPBPjRCvoMgP7zedTX9mGsYxfPDhFgC/XeoyR411xBBabUnM16cY3Ra9j9MsLrL8Q81XalPPgwNXTBmqae+9ZTFW950t624v6qOcq/zBSkE2b5d8WEmt/PMxRjs470vsuP48fSRcPnBpb5BBzzPPS+Gyk60nxuIIRX+V02KVP+/aipVeBQvz970vBzUT308r/Rish5X/hXAGMFf4bv05wRbT9d98CcyKP/4T2eO/vZPsUre8F8/oXD7LLF1pOBrlQAMwXi0f6gPu+xEpbB055j/2/H4qSJLtjculodZafU48ectXFTo3id/ysTV3sWTz/2VkP2DU4InbOBeJ38ap/PeXQT59i+xj37+i+Wk/NVwW+7fvPCnkqm7nD9l/Z+zm/qB7x8giBD2rAiXsZmW9jN5+NG4UVhd2ZWpfyAPnCoj7ztW9EckRSs6MdXx5D9A14abNYOVt55uqydrz8H+MJ35aZ3XubpOTA5QBqKfx460P46gimjtnwF1K7x5IX+w18Kd7zEHi7UnCnOy5yMuxSSH/g/wivtYLH2oNiRTlzsvunuWyyey9zkq5OXbwYE4laHneeUzGDqzkfgaQ1lNdPeDK5FUt/fp2+P/D+hoeSnsfaPU2i8cW+LI6B0Sgdun2rosJ4hLvpS3gUn+/3h+xgJ68nYuG/Ok4WlaTpT+oOXmZK8T7cnKcBEpczfmKX70cakevVWpWUJDUJ4niwUpQw/JvJOy8JJaOKEaEUCSBJYRSm7BZHLDCmLirBVfaijEKsQUPr8BO4/P51ln8wGrf4MBEstTzjyh11tzeTHEKhQq3xrZMTfPSiysMVijOvQWYoGOnMvbTcRPaW0ZIL8JDl4wBE4oTVk5TFVJx065wcj0SJxT0gDTwU9iugs2Pj2djVgm49FHYB+A6oOJ7MFiJdpX+TdX/ffUp9xVa1kZIWWhedZpdI4rxWJ6nHAViOWYt5oRERIjI5wdJeXFQtvAKoVrNLqglIEkf8MFFtOwHVQiPs+MRfGsuQo5TwqAs3kYFBLJYfpVdzznIkbz9idwv12DERcgVYUb0WVCZvdO7rfgQAus94zYAYOVMjI1GySB/ZkhfnK7fBhgBCOU88t8jYmz+DwKLwDF21+xIEsjbooLk3cBNUymomJpXmdS2A/QjR3RCDNSlGuN4izcGPZguG3f8AvTxgS6cklVka6PfMLvQHslvVjcMT2ALAnMI5Hv5VMxcrFIWg4bKRK5byBsJOKz6ud34PtxO/BFUQhArM2fTe5mmHaFdXRZ8+Xk2St6q6EqBgkaGIDqgWU0QXhJ7+ClS/wJrVWpYODFSigwmkddiYqQTK97FMf9ht7OoOzSKMXlw30fE70busCu+ajIwgIFsDjTr4Zb3DIA3AODFLyA2bzdYY4UMAGSyrERqp2wpTTTcwah2uqRIIwJ9NXuvBnp9TVU+nDOasnw1z6l0WH5yWGD9JEA7UZbnJnRvYsoNYi3hxfGqejYDjPDRLFV01x1bpF+FOLxPsgDKm0zzPNpM3lz2AWvpNjJA+qEFyX2S5qG2xbIORzKjvJ01TGMubtmERbgV8thfuCwOHoWGE3kSPD91FmiSF4xJquw5ekZYEbfMtpqEFDzeZnXJErYvBUS53RRvqLUVZook25yN6aFOcQ8MVOz1RUalQVl5RMerFq6cxvRM3s7BkZR5S5Hra6dfqB9AH6YXswI0omZIR0Nk2AHtOKFZTj5nfkdqoFhsbbrEawuhkgNCxVm+NFrugxbXOoqM1CPrFYA19g2gzKGmOhRMgeV38bV2etBrkJHVso3R9VOTPndkudSh/eaJvzFnE+FE3L4pPXyS5L/sSRh1l6hSP/mH4omxpML55rZJqGgvQTzb4VW8TwBc6D3hr6kJpz6Sat65Nh06opUSuP/eZX5v9fh63+QrL+omtlPDyBPhLvQ64daoxmd3/oQcFD6KM9p4Q0NMuAky48+zXhbp5cg3PLoADWRY21T9teaO5ryeIk5vBC8qTf5x6BxQQVhHvQM2H+dRwjJdHHdquxpzNRaO/a9GvZ2IqPOt5kwVa3PAqnj0nKnIJLw+7sFJngweOy4+lFanm77CbU+B6SMd6gPPnfpbUKl40g58327razW2m5cHyHdZMrdwHzXTqRLnsX/qA1QqV2tT+tpiUCuA2o3+RDOlLCkwdG/xzWXiBfb/bwinREHynSHIhCfEqh+8353jzb7WbU+uF7mWVKQYfvYJmab0sFg+G9+xl08DyX7rbeTIrQNPjJLw1AyAP0WqWujhkp7EjN+Km5dziMNlPa0xYwD721Lkw6eFLrLF6JE0usuwUbaBOzRnrbEkVUGEVAO4hfT7RD7gZGsFjvi7KOPzxhiL5q3DtcaWcZYAchyzjmdJgH99YQyuxwnpZ8TZVuNMqetcrqq5nHlWiLCfCwqaKFWP+rQDXdZay5bQj9VCUILvx9XSbpap05xVXlmdVRa+/BbXuFD9/r22HYu4YrctZ9IO5D/IJFH4psrvFUcS2e2klRIQn9F5CyJ5m2kq1epFJuN5U++9YlmuKSSJYtvLIYHPAV5hBIpK10GDWCVYckOUyzkAN4Z6dnAGTVFDuoGxIKLEJ582/ZAJE2xXpH1rkCO3svn7UZCad+XETh+yHFZ6xY3XIXXkbjFGMc0cq8fWVcGUogcDeB+OIHOfLR/ajQzMixzMbvAJSCft/nZLa44sDXMmryvZVhujcwDqhM3hA//vAYPuFWpdU4iZaRR1XXwBgIHwo+XKl0Gpg+IhYEgLAIcBSvpSMjAiCQizsA+A9r4ciEWOLisA2EMyOi/oS8b8mi21HzKnxBZxR7MksIZgxUAosb+gDSrHGgjn+Km+uP4BVR6WUQDbDbYBxlWNXTFLIn2UlAPR++rNdBGSnswr1EDOlBFIMXjiEHEoydzj2LiCw3fwODkeO6DA2SP7zbaqplWGA5kLdRKr/l9xE/k8XA0kYNuUeTIivcx+39T0oayAmpC4SvJ7YzuWG5k9mJaIbDE4WjML/MxJvctCOQssd+ailwbIYnizkgOW5Nku21O0hDxe7CZ8l8Zq7sAvKmCL2EF0eRfzkajC1oWsxtZ3B9AeAl9ZEtJxY1ZysdR7IIk5rM7O1G+AeSgtasV9MW7VLWP+1rWcYtB+FnQHrWvtnFLPnKdU+cjO1qYVjM7gMI9jpmbBfPmgxRYrJnekhPiixPq7IWGhnvpMzl6Sg5wkHUlKey3cUPldGyGy6aZjgHYMqGhAJDsu6+L+Kl8IKAnJmSnHIsutbQMFtKFGd3do6NQ772ue/DESJKxciesWRod4vm7JOh77byhldCoxRoMdsGmgl0rYDhA+/Yy9kr7GUNUGsE5olR2OEyic3XtZUUBFAl+Sj1EfgKZGHP1833fBlgSp93IudNGBbsHth/f40pK20fxZEbBA2e1Ff/iXLGzJ8fY8rsVumGGNemaX10nTHWGXht/XnKBjp1txtR0pIgQTtSecFphJ31JB94R3QQjuDRXxEPO4Ml5Qp4o+xK3GKIXFJlDS6Jmk7YqDMaArM5h1QKgbtz1i9diGAXUuA5Xzq8/sMs226VY/BXdsA9XSCTMcGuFUS0+ltu2EhxuGR2OC2vuzThG127tuaj8ksgrjgkLXTw7kbefPnK5Wdw+YH7XmrnIxdKqAsNWo/Fiaf/Tb9HMOfbjXU+fuSp+ILuXGbK5cM5ee+mTloyj3P0Y36DSbETGYxu7KGD7LGdSqiR8pihXbigdNmyUaPPL+HAz64gO/r06TnQJMu9BOcsUsMXAUbEjdBG/jjqrjmwy78qChYH4B3VUl51yKEQCAmDIH8+fojTMDqpzO/ahPUV1z7z5Y0pNc4XxZ0nPusTPZJQQ5jPvS6syWICU9dvDknHW6q6rv/nVkQfOo141+bLJS1646nhS7ljg3380s8634yC7PenhMxffzoS8oF11/jUj9fPwh9h9SeJnDcNDLp+z1EUxWNoDAONC/3yDwN5L/amz0EWVT1orY4esfQYmI6P7GLW1pbA9bOB2QI8KnX3nGQWJY6JyijzTGt0B7oUGHsHBWKap8CUcZ4f9Vm/uMPcKlSXOLW+4/NHmDFrjbznCvo1KgtOm3iodODI0kTlsHq5DOhaF/7ckHJtrn/74JpVgueXVXJLefUzotCmdrwbNlYrAzDCp6tJzHe0qjl2ldj/EFOoFHIcp8r2EC5aOQiNkiS6fGHzj28re767ZKVrDRD16kVvcuns8iyj84gh907KCMTnc3HhxMe2zc4fGCIM/2yJf17Nk/FZ0xIW74g9Orh7D/mj+FjjubJ3xHMHeo565IYxuglwYVglGfz7XXMIcuNOmOkp9NvT9lIJi7egDUfS+eflm5IqD14449ByHvpdlzNSqV3iFHx41yByGNtVl7LNZniwAKdwcgdOmV04tgpF27solgXBK2hnYfl1FfXmrd56xwiLNKzcASI7t/ToW8yQgxIGVSmY3VqTNoP8GLypWw52BlR+Jxdysf5g0r+TWyHA5x84kHqlqtbCr4yTEQoHQGDIWwfYevli2mCbXWn2UGqJPIskR9TWmuv6TmQ84EV+GWeOJ3kWT1xG9VUgRkt9wambdE3d4ZmhdZmJutX5feCUbybYwr5Lw5OQoZoFxoHfd74OONjbBtuhU+XK+y7+cgpPJRIIc2BhmWFgfC1aXirWw+J2a3JbF8mZYkttViWUMOWWWKtc624iO9mqt8CZpa5jTjEnhz6FcrZAlJ4cnyR/D+IFOz0axw7LRxHjQNQr8Qj7qp6zivoKNRop41kIzVt44v58clrkE5YuOAOEJrRXj2df66PtbgKY421GGxyGo8Q7U2NglnJ8N+7IoYK3HQYWC/C+4K01jj5D1UJIk8MMp98R9A9tP0zk+UaRlWToDTlp2CbkG6ZwZE9JLHTfv0s3XjWJ4XecA/FgpFABu9ECBAMAvUjZyobkd3pObLBjzfPmJ4fMzVbK4m7ltwMHqhat/Vj8K8E+CajFSXqXOSvY4pYghKMZM0+/sRRbQBNu0k0v0WaGA7XxA+BixYi13KSaPQt5FDCq5D58cp2Fvdy0HvMFe3ya3l009xeAqzGh/MlniRzKUwrBg5nzUm/Tari7DbwrtrmHnYOSAZSMEe7eO0d3FoFBsrOPkva8rOrFlviKkMiifBFaRJUTPk6UM727YSuBqSH9iOLPQGlkYDm0TWokdqDKk6lj4m+ufLJDOBTN3c48e+erRkmca+5WWjp1yGLMXlX1kGLuUX9qYtJKrM4GVroThqZ9ySoEB5ZQ2xXnwwCC6lnw7lw+cn90Awur08/uT7VViWRe50LrN61TrnFmkc9D1kHpVEpO3UDa1btXkc79ZobWw+DvPUkYRlPSIiA9wxZMJ67T4TtavqqP8Z5b80+1n0l8A/rBv9m8LO9yIVZ6wWwCC1H78X4HeWhCqjZ64BXHGnU0GW/vTZJmOy6gvi3V/8E3/f1SAwpLM/htCmb1NFm7Nl1nyhYTRUsIyd6Ca5HfDEl1o7Blzp8/dcbwoNdcaT7ZnGmupZk2y19WNUDhCa9jyXAf80/1e/yK/djXwRXndFQZ1Lqk3Z2yZeBx3Mf7VV6ouLPgd9KotQV9Patv8HNEC349+LLfdLb9KVxtD2/7xYsvHXJLW6TCrz/NYveSef2//Jz25jVt87g8TvAp2V8FxGza9gGPS6/KmBCyt5IeLE7LZop70Fre4jaIJW/c8e5WvvAfDiZrE6ccvPheJYid/sohGK6YPLtkycav2/N0pB7/UaILA7t0XnwtHR6a9c0t8I0He9NPml4BfAv7/GfBWOI7gMvcTChR49d+JqlzBjMf8NUBPwgks9fNaFSHx/44iQUAfJDm6SM1SqCDxhPMrTdj6P++UkJjZNlKOiZ+N4/0J4zV3tTd2a8Ki/zM2qwx+OI7TzNE+TH/v32natsibvJiPJuvlBshrmstp2tvWlNXF/LlcQqJfqshLwC8B/98FXC++k2r/pdy+Y9TaXPU8wGpzR+ZPM159WPRiqTi834v5jv/HXyfkGoefn8Bd74RlzgxCSQEws3YCZsPlRCboS+UMzON8V/juTXq+sc+CEPw3Pe019RidDqM6ePf2CYGw8iCDVevE+w5XuNIgk/HaUP7E4vR+PybXHRMP5XYKxuT0c/UEb9Zd7oX64cHEpA/njQn+OmqCTTzcvfIXUp4Dc8e9kuuuTGxaqdgwtjJfRT2HbrFbNTYZXkJ6Cem/AlIbHuweewoRgWQN9bp3NJiHftqgla6MnP/i+O6E4cGVSD3Y7b4/g6d1uB8SoFu87744Q02vGH6ge7JX2F7rddI+VVRaO/vTPw7Vd5Gjp4Qd+AmLE235AxpXPmCpCQIjfrafLG5b8AcErrK4pGL3Qw3lD3xaucWY+A6WuV3v/Kq6ausfhox11f9LQOT0jF8PRTQ76adjiN7OjOrCmhdlXKUoLMZ8JSe8c827gXeex0+R/EHiUV3IWa1BL7XuJaT/IZAwtMoo59AG5z5r2o7RVS+3zb4keUnykuQlyUuSlyQvSV6SvCR5SfKS5CXJS5KXJC9J/lMS9wbqtsFv36uVBAc8t1N++OdNVIJVraQpYd8NKXTxOdh3f7+P0fT9Bny6SZOsbC/BvtfTa1ubI5wTiqX8d78y7eoQDX0vsP3qMbZB/uF/3R78ayrxyAGk7VGve3R1TcdwmVAkHb5CNXdkGm/lAm/z0AhqWEcvOEb1dKHoXLw5xBuy1Lk3jq/p20RvFzeJWala4F2Ec11/Mh+Bk9n7EgW1UEHiWmTv6TzAlxdqZYxN7Udyjqq8THf2bZ1h3cyMVwOSWaqQqr4EHyizWgFwtrto3bsFf/B6eq8BbMaXXBq9HYFPQtXE97l3vandx83wa+3JAqtGfcALz+h3b75ToPTdYVD9TDS7nzB8YUPtr5VdxjXExHT1F7aSAgPLXKNl3YkF+2oc0uihpUn+RnJqrdUok9mCy78a4bSXgYQvrPjQNnDsaAvo12sGC7b1dIZr3GK2Zg39ZG9V5HSZSGV/tX4Nrxio9gPGYOUcenyknNk18uXhKGmq4cEVfm1gVgsj02N35/1y9vBIucFAx+qSkaUUZrP7BQZp8F7518Fs9I/u42fezO4RR9lmiwoMBQqd4d0pdeJ4iUSSMNc6+0aheWMUGv9A7LTsKFTwRTUonJ1rFBujPCN4k12i39swc+nYK6zKkMjvWL1r1AlV77F55YOfhrjkJpyasrCSRyVhpjTcniWTbzscRf0gqyKekUd9Ejj1rLg8qp93KV9pTZrPpQbKT8HR5VNvwipB84LowuUZLkHR9xHRUoQcm05eSMQrBraUZ2xZdtDTh1XQa8XryDD0VlU+L50Zrv1ZrIa4xqiSk310t2qWWT691qvERX4/Dmcuu1zIYyHlTeEFSG17CpdLjw/5PKoei7PWG++MmlGrb1pSwpcBCnD7EcxHhXTM6h/pJxdJETuDiYQ3sdHl7ET06Gy1mVWvgFKW1XTAQviJNTTcyMKGOR0RJik/zNN9PMIsjg/ZRC0OvIt3nO0NipzJodSWyTg/idNXkePuoiLzqPJAQQg/d3lCWOjBYr69o4CeHD7UoDDsX8Q1eIF4oUEpr8uXri4bxafWdvRCUatMdsbMSnPt4fbuubuMmR/UNK273YFz2eHpXOTGjgGt8EYRy7Oosi1+o42RYYJIRfTBPPm9w1FV1xD8op338hTTimsrtTWhITSKGcktrlF0mL9ILS4+WGt0wfMZPu3Fml/rQFWap7ksOK7K5vV4V6XylqvHldHHEYTjbE9U3TPovrqIAnT1eo9iKM2fwlG9i/uQfY0ZMh/tbG5iWC0tg1dtoTi+bhQEquss1kVgAijNemLUXP6NlZMInHsTlYA1oiDhM0d7zpkRQ8+zte7Blqymg7WJ7iOhBh6SeWc5JerK3sGrh9spCunQWfRZQXZUewU9ub2M75IJRLyPAikefND4mJh/K962AlWXsU9HqdeHrJZCmTNlPuSbXGgRm7STiZg8BAsFVZi/oRJnmoV+08ifEzso4YtQTdLVpnQklJJ+DHCfcuR+YYTq3kBL44icZ9znU/WkUMfwUbrPAG/FJnqprdF3aUKa1iUdk9TlmTwbRC5HUsT5/tG9XYJ891p7kyZD1w+yUKkxGskZWJ48bt+hYd6rXiDQoqKYgeFcZYrtYRqM3C1eOKWBvj0sMknCGvF6o6AzmZg4konLus3ItO2Ylg1ZS2rD3WqNB76sVpAvTHlw6a4UucLvS2XYYGOfcUg4yBdSaexeMjJUtrAj2p6NztS6lBv1lnEeYs3hKHZL2wqXMla2Xc7sv6Fvztb2VtfcHVeYHFkyxipsROlen7MHmrkfHLBg+wcqLcldNVp7P98esif95FnLoF7M6z33RCfVVVpSWOq1phvb7tKwM3nv4+VdbXIylxcQzXP9K+u7oJF8Pl8ATDf7JvII89CJwiqlfqf4rla2W/MqjWiyw+QMWMPyo1Hz6nmX0Jk2CPip0w3VYCC95/krzCdCoZAbQNXaMbBcHdm3gXxerjnWy3L5Er9/Wmq8hQSg98kZ+U0fTlnNeQu2u5etU16ij1iEnaNKCjhvOrCXAVfryS6LaIwLWSQXCPmJkQ44M4qI4DQXFnG8C05jZwt4F58oh2semo3aJbS/4VBWNtdJXpK3HF3TvHej4QDWhUdhKNtypVxkW/r9mEm0WGT7Fcp1tqnJ2v2uZpcXSfvFfWTXkHIRf0bBrcD68zeYbTAcn0PjzkmyDT2CvV/aZb9cMO/UQsHbcFGBTrlHYehfYD2xMFZ0DN4A4DpSW8QhKCW3rR7w53j7g/0Z9f4C7ZNkEc/yy238PFcGsBesNAJQfGMw4xJEs5HObPS7TH9IcaYtHBMWekuBQkjCjmufA5NtIVCgiiwWJyz8GbgUm+FxS8Y2X+UPXL6QjmWahIJwjhVmO/PVKV8lheh5jPxJlDOEtlWt3+UWVSWEMWJpWVC6n4rE8axbV1AMXT/EWu9KHh7JY7W8UovXmtSRqzZM3/lRAnlsVuzmCQTf5zpz+kPjs8ZWSbNbLSChPswjIOW3veVx8A3TcxV8MJKbHMM6SSdsVyxPDGtLto3Eczm44U2p6gTKGcs2sKIB8NnwWnWchihCzAdO+QYKXq/etwmkjMmC0ql12rVKRMbj04PonLOMSGJR+xTGjV4r/bAdeeqsmGk7Ky/tzZgzpvFZF+nppj1zx76nvk393GRaO2aY/S6Xj+anbASRdXCwDTa3FGbXnXuNzymbncg7RNs9crkRkycvp7fFmVSXtlQq77ic3bH5CLNFDIISFyz2iRj7v0q7eKVAl0IxBex2imgqRdm7VsZiDFHuYwg3a5JNVaLavt6TRqZ+jaQrMDHEekU7emXQAAuJcSmY3xWvlnyu8+hKddef4JzhhLjOm5cFTektwlDhmNc9Vzt8JXGd0yMZ3jJwrJh801duCSr5HJslHRYsL1V/hCu5A+MgfAnfSR0+DeiAcc3KlQMY9t8WR/PkeopEKomijKhur1LIEvfBBFoDAgfucfVzZZoful2ukq1PY+uZN7non/Ml+nBjiGw9EUf7vt3n6ZtqMxi8GZ2RZ/2F8QvHdjwKMe7xzu8gJY48Q0yRc4LPdN2Ey+QGgyH72boLRhqprYQ64urN0/a4cgkuYWuZ8/pQ1JTqLuxHafbk3lXPxBrH9FNQo1fz4TiAsNdXFVVYbZh3X/OzGE7yVev/tVNDzKVSpP0p5WumNq19DtMA6VWSA5g7U7untNcJmzaueXBnROI1SbwEz24aj4OoIoHQwlsjwTsOHIkijFlD9qMoY8bWUf3RqFX3rxYVFIMRd0sxllWQ/qK4/Dq9ZlFJBbxvdGaOzx080s3amS5ytCMkI5yGIsjnyBUWW73+3XoFvdh94lLcvpkghblul4AHB7t/dD/cd4DdCijJRwb5yugmHGcQR3W/MNJ4aORpNoHpUHntrQh+VGnkK25LkXUDTmbUkr1y80PYU53qCTq+eSzq5tcvD+9ITB1Z9Vs0udR188bCGtp4PHEfKHig1rm8ZHrpjqWL5YJYcBlEPd/VRr6cL+IRDsgVPts7UHIpZMLY+j60MsfUALjuYNbzzgFtgBAFDkCYyw3u073Q5YLNS/rnOZj4jiC8bKt/RrZlR055bu8ghqwh5nDmz3cUNnXthetwZqSjE9nsyj4Uzqdezqe9Xo5HXq0Qt44/LUOy2WRPgqvN5Jy6vR45G22CUxaEr1w7iMkzinrZLgeAjhVdqO+cnZ2Suv1wbfj4ksTW6ylRqbXjPjzPlWte6hHEVqGsRBdYdTWa1bOmR7/TJy1eI5npSgZ7RByrSCm4ct0PRb4SzYuBqrpSdLuFModB5qg00P0qMTz+XSkJFeAyKp2TUSAz/3pm5yT/DaXlvydCbqlGXZnauTG1fXzS7zawB77vEVCrFlrD3JNWuoXao4/ZKm/6NlJEq911zUMN836gst4n2e8PZfhJ4xvBs89Wja+DfwcRphURfkA0GKBZ5ijBgGAsJuDGDTmV3nIVHqtSjkfT9Ef7p7YSforfYgpxRUjhFqi81GgFHx+gJ98Spx9/Drvk9bHFTp7I4nzdx2QyrW1aaatWlh7/W8I1qpKVjCVcNw7at2XY2lMNmIUdVZJC5BoCTX0UWBOrRfNbIOQFBtI14ECw+8DMTbaT+WpBQtV8q8UVReNbyLzwIraNH6shMvSh2mOOAx9zzGkcs266N7oczeN8/jilPLN9zRRsYURQN/SF2qyIrdcKDrE2RJ+LchR6jqfxKbbtPdN3Ia1uTDeaCcLoDE0vQ96y7mHX9rVjLzNnnxhmhAwWy0aKqZwRPueYJ9WvimMDOEz1QWCNvd/ooI26VAdnD5hC10J4F9e/jiXjVZaeh72u2mAGB9hloqMbUirbaKtsCCrSLEWF0xCGPKnhXVumzJxJTUxXRLbOwM5UFbTtMv/d9oUtfDbOxbdYqbD5+yOmuk+Pq+6Zd0Czu6Z3UyR7imFdGFzfCnZj2IeiumeamxLZgzZjB/On4o7DhcfqMjsGSwYN9SlgkJrlLij3hkDfFAR6nqjp3xTpzwDJ1bnzQGKGxgM3zC0tvqoUHt15mSvjYNl+OHaUV/EYXw6wmn4sxl2ePsrw/8l0LV/Rv+mcAyLJo8HuC5ZGKj451X16Znt1iuF9XQJ9e6qvu5w8lf1XFe1QnsAxdK5n7HTUSdkLUpu2Sp7++GbPtxO/bTY9YQN6rDAO3lyxR6rrderV4/V3RU44dhkSV+oKlM515a+Nld7zdwJ+tcG01e57As0lHMfI0OqxsdI+6y2qIDkqhULnVOW3k6fOQRe85b7+6ar1K8s+/vKf/wtQSwMEFAACAAgAd4z3SmigejpNAAAAawAAABsAAAB1bml2ZXJzYWwvdW5pdmVyc2FsLnBuZy54bWyzsa/IzVEoSy0qzszPs1Uy1DNQsrfj5bIpKEoty0wtV6gAihnpGUCAkkKlrZIJErc8M6UkA6jCwNgYIZiRmpmeUWKrZG5uChfUB5oJAFBLAQIAABQAAgAIAESUV0cjtE77+wIAALAIAAAUAAAAAAAAAAEAAAAAAAAAAAB1bml2ZXJzYWwvcGxheWVyLnhtbFBLAQIAABQAAgAIAHeM90qHb5M5aCsAALNWAAAXAAAAAAAAAAAAAAAAAC0DAAB1bml2ZXJzYWwvdW5pdmVyc2FsLnBuZ1BLAQIAABQAAgAIAHeM90pooHo6TQAAAGsAAAAbAAAAAAAAAAEAAAAAAMouAAB1bml2ZXJzYWwvdW5pdmVyc2FsLnBuZy54bWxQSwUGAAAAAAMAAwDQAAAAUC8AAAAA"/>
  <p:tag name="ISPRING_SCORM_ENDPOINT" val="&lt;endpoint&gt;&lt;enable&gt;0&lt;/enable&gt;&lt;lrs&gt;http://&lt;/lrs&gt;&lt;auth&gt;0&lt;/auth&gt;&lt;login&gt;&lt;/login&gt;&lt;password&gt;&lt;/password&gt;&lt;key&gt;&lt;/key&gt;&lt;name&gt;&lt;/name&gt;&lt;email&gt;&lt;/email&gt;&lt;/endpoint&gt;&#10;"/>
  <p:tag name="ISPRING_PRESENTATION_TITLE" val="教育培训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0NYhzz3kyjTLiMBTKV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0NYhzz3kyjTLiMBTKV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0NYhzz3kyjTLiMBTKVx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0NYhzz3kyjTLiMBTKVxw"/>
</p:tagLst>
</file>

<file path=ppt/theme/theme1.xml><?xml version="1.0" encoding="utf-8"?>
<a:theme xmlns:a="http://schemas.openxmlformats.org/drawingml/2006/main" name="第一PPT，www.1ppt.com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qwokcu4">
      <a:majorFont>
        <a:latin typeface="Arial" panose="020F0302020204030204"/>
        <a:ea typeface="微软雅黑"/>
        <a:cs typeface=""/>
      </a:majorFont>
      <a:minorFont>
        <a:latin typeface="Arial" panose="020F0502020204030204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Multicolor">
    <a:dk1>
      <a:srgbClr val="5F5F5F"/>
    </a:dk1>
    <a:lt1>
      <a:srgbClr val="FFFFFF"/>
    </a:lt1>
    <a:dk2>
      <a:srgbClr val="000000"/>
    </a:dk2>
    <a:lt2>
      <a:srgbClr val="707276"/>
    </a:lt2>
    <a:accent1>
      <a:srgbClr val="009DD9"/>
    </a:accent1>
    <a:accent2>
      <a:srgbClr val="FF8300"/>
    </a:accent2>
    <a:accent3>
      <a:srgbClr val="B21DAC"/>
    </a:accent3>
    <a:accent4>
      <a:srgbClr val="D70036"/>
    </a:accent4>
    <a:accent5>
      <a:srgbClr val="707276"/>
    </a:accent5>
    <a:accent6>
      <a:srgbClr val="000000"/>
    </a:accent6>
    <a:hlink>
      <a:srgbClr val="B21DAC"/>
    </a:hlink>
    <a:folHlink>
      <a:srgbClr val="D70036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Multicolor">
    <a:dk1>
      <a:srgbClr val="5F5F5F"/>
    </a:dk1>
    <a:lt1>
      <a:srgbClr val="FFFFFF"/>
    </a:lt1>
    <a:dk2>
      <a:srgbClr val="000000"/>
    </a:dk2>
    <a:lt2>
      <a:srgbClr val="707276"/>
    </a:lt2>
    <a:accent1>
      <a:srgbClr val="009DD9"/>
    </a:accent1>
    <a:accent2>
      <a:srgbClr val="FF8300"/>
    </a:accent2>
    <a:accent3>
      <a:srgbClr val="B21DAC"/>
    </a:accent3>
    <a:accent4>
      <a:srgbClr val="D70036"/>
    </a:accent4>
    <a:accent5>
      <a:srgbClr val="707276"/>
    </a:accent5>
    <a:accent6>
      <a:srgbClr val="000000"/>
    </a:accent6>
    <a:hlink>
      <a:srgbClr val="B21DAC"/>
    </a:hlink>
    <a:folHlink>
      <a:srgbClr val="D70036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Multicolor">
    <a:dk1>
      <a:srgbClr val="5F5F5F"/>
    </a:dk1>
    <a:lt1>
      <a:srgbClr val="FFFFFF"/>
    </a:lt1>
    <a:dk2>
      <a:srgbClr val="000000"/>
    </a:dk2>
    <a:lt2>
      <a:srgbClr val="707276"/>
    </a:lt2>
    <a:accent1>
      <a:srgbClr val="009DD9"/>
    </a:accent1>
    <a:accent2>
      <a:srgbClr val="FF8300"/>
    </a:accent2>
    <a:accent3>
      <a:srgbClr val="B21DAC"/>
    </a:accent3>
    <a:accent4>
      <a:srgbClr val="D70036"/>
    </a:accent4>
    <a:accent5>
      <a:srgbClr val="707276"/>
    </a:accent5>
    <a:accent6>
      <a:srgbClr val="000000"/>
    </a:accent6>
    <a:hlink>
      <a:srgbClr val="B21DAC"/>
    </a:hlink>
    <a:folHlink>
      <a:srgbClr val="D70036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Multicolor">
    <a:dk1>
      <a:srgbClr val="5F5F5F"/>
    </a:dk1>
    <a:lt1>
      <a:srgbClr val="FFFFFF"/>
    </a:lt1>
    <a:dk2>
      <a:srgbClr val="000000"/>
    </a:dk2>
    <a:lt2>
      <a:srgbClr val="707276"/>
    </a:lt2>
    <a:accent1>
      <a:srgbClr val="009DD9"/>
    </a:accent1>
    <a:accent2>
      <a:srgbClr val="FF8300"/>
    </a:accent2>
    <a:accent3>
      <a:srgbClr val="B21DAC"/>
    </a:accent3>
    <a:accent4>
      <a:srgbClr val="D70036"/>
    </a:accent4>
    <a:accent5>
      <a:srgbClr val="707276"/>
    </a:accent5>
    <a:accent6>
      <a:srgbClr val="000000"/>
    </a:accent6>
    <a:hlink>
      <a:srgbClr val="B21DAC"/>
    </a:hlink>
    <a:folHlink>
      <a:srgbClr val="D70036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629</TotalTime>
  <Words>2628</Words>
  <Application>Microsoft Office PowerPoint</Application>
  <PresentationFormat>宽屏</PresentationFormat>
  <Paragraphs>244</Paragraphs>
  <Slides>24</Slides>
  <Notes>24</Notes>
  <HiddenSlides>0</HiddenSlides>
  <MMClips>0</MMClips>
  <ScaleCrop>false</ScaleCrop>
  <HeadingPairs>
    <vt:vector size="6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4</vt:i4>
      </vt:variant>
    </vt:vector>
  </HeadingPairs>
  <TitlesOfParts>
    <vt:vector size="31" baseType="lpstr">
      <vt:lpstr>Gill Sans</vt:lpstr>
      <vt:lpstr>等线</vt:lpstr>
      <vt:lpstr>微软雅黑</vt:lpstr>
      <vt:lpstr>Agency FB</vt:lpstr>
      <vt:lpstr>Arial</vt:lpstr>
      <vt:lpstr>Calibri</vt:lpstr>
      <vt:lpstr>第一PPT，www.1ppt.com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第一PPT，www.1ppt.c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教案PPT模板</dc:title>
  <dc:creator>第一PPT</dc:creator>
  <cp:keywords>www.1ppt.com</cp:keywords>
  <dc:description>www.1ppt.com</dc:description>
  <cp:lastModifiedBy>陈 佳伟</cp:lastModifiedBy>
  <cp:revision>342</cp:revision>
  <dcterms:created xsi:type="dcterms:W3CDTF">2018-01-07T13:00:52Z</dcterms:created>
  <dcterms:modified xsi:type="dcterms:W3CDTF">2022-01-15T06:51:14Z</dcterms:modified>
</cp:coreProperties>
</file>